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3" r:id="rId6"/>
    <p:sldMasterId id="2147483694" r:id="rId7"/>
    <p:sldMasterId id="2147483715" r:id="rId8"/>
    <p:sldMasterId id="2147483725" r:id="rId9"/>
  </p:sldMasterIdLst>
  <p:notesMasterIdLst>
    <p:notesMasterId r:id="rId37"/>
  </p:notesMasterIdLst>
  <p:sldIdLst>
    <p:sldId id="256" r:id="rId10"/>
    <p:sldId id="270" r:id="rId11"/>
    <p:sldId id="319" r:id="rId12"/>
    <p:sldId id="278" r:id="rId13"/>
    <p:sldId id="257" r:id="rId14"/>
    <p:sldId id="276" r:id="rId15"/>
    <p:sldId id="277" r:id="rId16"/>
    <p:sldId id="259" r:id="rId17"/>
    <p:sldId id="321" r:id="rId18"/>
    <p:sldId id="260" r:id="rId19"/>
    <p:sldId id="261" r:id="rId20"/>
    <p:sldId id="264" r:id="rId21"/>
    <p:sldId id="263" r:id="rId22"/>
    <p:sldId id="265" r:id="rId23"/>
    <p:sldId id="266" r:id="rId24"/>
    <p:sldId id="268" r:id="rId25"/>
    <p:sldId id="269" r:id="rId26"/>
    <p:sldId id="322" r:id="rId27"/>
    <p:sldId id="280" r:id="rId28"/>
    <p:sldId id="320" r:id="rId29"/>
    <p:sldId id="274" r:id="rId30"/>
    <p:sldId id="281" r:id="rId31"/>
    <p:sldId id="279" r:id="rId32"/>
    <p:sldId id="273" r:id="rId33"/>
    <p:sldId id="272" r:id="rId34"/>
    <p:sldId id="271" r:id="rId35"/>
    <p:sldId id="262"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006B55-6C15-4A59-B54E-1E2CBC0E5207}" v="127" dt="2025-11-28T14:46:35.4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6652" autoAdjust="0"/>
  </p:normalViewPr>
  <p:slideViewPr>
    <p:cSldViewPr snapToGrid="0">
      <p:cViewPr varScale="1">
        <p:scale>
          <a:sx n="77" d="100"/>
          <a:sy n="77" d="100"/>
        </p:scale>
        <p:origin x="576"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21" Type="http://schemas.openxmlformats.org/officeDocument/2006/relationships/slide" Target="slides/slide12.xml"/><Relationship Id="rId34" Type="http://schemas.openxmlformats.org/officeDocument/2006/relationships/slide" Target="slides/slide25.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75ACF2-91C5-4AC9-BC06-3C9AE2C14ECF}" type="datetimeFigureOut">
              <a:rPr lang="fr-FR" smtClean="0"/>
              <a:t>28/11/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1198CF-A1B6-44DE-8859-E7128A7C765B}" type="slidenum">
              <a:rPr lang="fr-FR" smtClean="0"/>
              <a:t>‹N°›</a:t>
            </a:fld>
            <a:endParaRPr lang="fr-FR"/>
          </a:p>
        </p:txBody>
      </p:sp>
    </p:spTree>
    <p:extLst>
      <p:ext uri="{BB962C8B-B14F-4D97-AF65-F5344CB8AC3E}">
        <p14:creationId xmlns:p14="http://schemas.microsoft.com/office/powerpoint/2010/main" val="973525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01198CF-A1B6-44DE-8859-E7128A7C765B}" type="slidenum">
              <a:rPr lang="fr-FR" smtClean="0"/>
              <a:t>2</a:t>
            </a:fld>
            <a:endParaRPr lang="fr-FR"/>
          </a:p>
        </p:txBody>
      </p:sp>
    </p:spTree>
    <p:extLst>
      <p:ext uri="{BB962C8B-B14F-4D97-AF65-F5344CB8AC3E}">
        <p14:creationId xmlns:p14="http://schemas.microsoft.com/office/powerpoint/2010/main" val="1510637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GB" b="0"/>
              <a:t>+05’</a:t>
            </a:r>
          </a:p>
          <a:p>
            <a:endParaRPr lang="en-GB" b="0"/>
          </a:p>
          <a:p>
            <a:r>
              <a:rPr lang="en-GB" b="0"/>
              <a:t>Comments</a:t>
            </a:r>
            <a:br>
              <a:rPr lang="en-GB" b="0"/>
            </a:br>
            <a:br>
              <a:rPr lang="en-GB" b="0"/>
            </a:br>
            <a:r>
              <a:rPr lang="en-GB" b="0"/>
              <a:t>“So, the questions we would like to address today are (read)”</a:t>
            </a:r>
          </a:p>
          <a:p>
            <a:endParaRPr lang="en-GB" b="0"/>
          </a:p>
        </p:txBody>
      </p:sp>
      <p:sp>
        <p:nvSpPr>
          <p:cNvPr id="4" name="Espace réservé du numéro de diapositive 3"/>
          <p:cNvSpPr>
            <a:spLocks noGrp="1"/>
          </p:cNvSpPr>
          <p:nvPr>
            <p:ph type="sldNum" sz="quarter" idx="5"/>
          </p:nvPr>
        </p:nvSpPr>
        <p:spPr/>
        <p:txBody>
          <a:bodyPr/>
          <a:lstStyle/>
          <a:p>
            <a:fld id="{885932DF-9606-4758-A2B5-AF1153FB1ABB}" type="slidenum">
              <a:rPr lang="en-GB" smtClean="0"/>
              <a:pPr/>
              <a:t>3</a:t>
            </a:fld>
            <a:endParaRPr lang="en-GB"/>
          </a:p>
        </p:txBody>
      </p:sp>
    </p:spTree>
    <p:extLst>
      <p:ext uri="{BB962C8B-B14F-4D97-AF65-F5344CB8AC3E}">
        <p14:creationId xmlns:p14="http://schemas.microsoft.com/office/powerpoint/2010/main" val="4095723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FF0000"/>
                </a:solidFill>
              </a:rPr>
              <a:t>Prévoir badges Bob et Alice, faire des panneaux flèche pour indiquer la distance entre Bob et Alice : 6m, 100km, 10 années lumières.</a:t>
            </a:r>
            <a:endParaRPr lang="fr-FR" dirty="0"/>
          </a:p>
          <a:p>
            <a:r>
              <a:rPr lang="fr-FR" dirty="0"/>
              <a:t>Saynète 1 : Elsa = Alice, Kamel = Bob. Trou de verre entre 2 particules qui sont intriquées issues d’un même milieu. On ne parle pas de transmission d’information. Téléportation quantique. </a:t>
            </a:r>
          </a:p>
          <a:p>
            <a:r>
              <a:rPr lang="fr-FR" dirty="0"/>
              <a:t>1/ Alice et Bob se serrent la main = intrication quantique, une entité non locale.</a:t>
            </a:r>
          </a:p>
          <a:p>
            <a:r>
              <a:rPr lang="fr-FR" dirty="0"/>
              <a:t>2/ Alice et Bob se séparent </a:t>
            </a:r>
          </a:p>
          <a:p>
            <a:r>
              <a:rPr lang="fr-FR" dirty="0"/>
              <a:t>3/ JLQ pince Alice, Bob est à 6 mètres &gt; Bob a mal</a:t>
            </a:r>
          </a:p>
          <a:p>
            <a:r>
              <a:rPr lang="fr-FR" dirty="0"/>
              <a:t>4/ JLQ pince Bob, Alice est à 100km &gt;Alice a mal</a:t>
            </a:r>
          </a:p>
          <a:p>
            <a:r>
              <a:rPr lang="fr-FR" dirty="0"/>
              <a:t>5/ JLQ pince Alice, Bob est à 10 AL &gt; Bob a mal </a:t>
            </a:r>
          </a:p>
        </p:txBody>
      </p:sp>
      <p:sp>
        <p:nvSpPr>
          <p:cNvPr id="4" name="Espace réservé du numéro de diapositive 3"/>
          <p:cNvSpPr>
            <a:spLocks noGrp="1"/>
          </p:cNvSpPr>
          <p:nvPr>
            <p:ph type="sldNum" sz="quarter" idx="5"/>
          </p:nvPr>
        </p:nvSpPr>
        <p:spPr/>
        <p:txBody>
          <a:bodyPr/>
          <a:lstStyle/>
          <a:p>
            <a:fld id="{E01198CF-A1B6-44DE-8859-E7128A7C765B}" type="slidenum">
              <a:rPr lang="fr-FR" smtClean="0"/>
              <a:t>5</a:t>
            </a:fld>
            <a:endParaRPr lang="fr-FR"/>
          </a:p>
        </p:txBody>
      </p:sp>
    </p:spTree>
    <p:extLst>
      <p:ext uri="{BB962C8B-B14F-4D97-AF65-F5344CB8AC3E}">
        <p14:creationId xmlns:p14="http://schemas.microsoft.com/office/powerpoint/2010/main" val="3241800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Helvetica 75 "/>
              </a:rPr>
              <a:t>Ce parallèle montre comment une quête de découverte et d'innovation peut entraîner des mouvements massifs, des investissements et des transformations durables, qu'il s'agisse de l'or ou de la technologie quantique.</a:t>
            </a:r>
          </a:p>
          <a:p>
            <a:endParaRPr lang="fr-FR" dirty="0"/>
          </a:p>
        </p:txBody>
      </p:sp>
      <p:sp>
        <p:nvSpPr>
          <p:cNvPr id="4" name="Espace réservé du numéro de diapositive 3"/>
          <p:cNvSpPr>
            <a:spLocks noGrp="1"/>
          </p:cNvSpPr>
          <p:nvPr>
            <p:ph type="sldNum" sz="quarter" idx="5"/>
          </p:nvPr>
        </p:nvSpPr>
        <p:spPr/>
        <p:txBody>
          <a:bodyPr/>
          <a:lstStyle/>
          <a:p>
            <a:fld id="{E01198CF-A1B6-44DE-8859-E7128A7C765B}" type="slidenum">
              <a:rPr lang="fr-FR" smtClean="0"/>
              <a:t>6</a:t>
            </a:fld>
            <a:endParaRPr lang="fr-FR"/>
          </a:p>
        </p:txBody>
      </p:sp>
    </p:spTree>
    <p:extLst>
      <p:ext uri="{BB962C8B-B14F-4D97-AF65-F5344CB8AC3E}">
        <p14:creationId xmlns:p14="http://schemas.microsoft.com/office/powerpoint/2010/main" val="1708592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Elsa va faire une frise chronologique</a:t>
            </a:r>
          </a:p>
        </p:txBody>
      </p:sp>
      <p:sp>
        <p:nvSpPr>
          <p:cNvPr id="4" name="Espace réservé du numéro de diapositive 3"/>
          <p:cNvSpPr>
            <a:spLocks noGrp="1"/>
          </p:cNvSpPr>
          <p:nvPr>
            <p:ph type="sldNum" sz="quarter" idx="5"/>
          </p:nvPr>
        </p:nvSpPr>
        <p:spPr/>
        <p:txBody>
          <a:bodyPr/>
          <a:lstStyle/>
          <a:p>
            <a:fld id="{E01198CF-A1B6-44DE-8859-E7128A7C765B}" type="slidenum">
              <a:rPr lang="fr-FR" smtClean="0"/>
              <a:t>8</a:t>
            </a:fld>
            <a:endParaRPr lang="fr-FR"/>
          </a:p>
        </p:txBody>
      </p:sp>
    </p:spTree>
    <p:extLst>
      <p:ext uri="{BB962C8B-B14F-4D97-AF65-F5344CB8AC3E}">
        <p14:creationId xmlns:p14="http://schemas.microsoft.com/office/powerpoint/2010/main" val="3023263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dirty="0">
                <a:solidFill>
                  <a:schemeClr val="accent1"/>
                </a:solidFill>
                <a:latin typeface="Helvetica 75 Bold" panose="02000803050000020004" pitchFamily="2" charset="0"/>
              </a:rPr>
              <a:t>« On ne peut pas dépasser la vitesse de la lumière pour la transmission du signal »  </a:t>
            </a:r>
            <a:endParaRPr lang="fr-FR" dirty="0"/>
          </a:p>
        </p:txBody>
      </p:sp>
      <p:sp>
        <p:nvSpPr>
          <p:cNvPr id="4" name="Espace réservé du numéro de diapositive 3"/>
          <p:cNvSpPr>
            <a:spLocks noGrp="1"/>
          </p:cNvSpPr>
          <p:nvPr>
            <p:ph type="sldNum" sz="quarter" idx="5"/>
          </p:nvPr>
        </p:nvSpPr>
        <p:spPr/>
        <p:txBody>
          <a:bodyPr/>
          <a:lstStyle/>
          <a:p>
            <a:fld id="{E01198CF-A1B6-44DE-8859-E7128A7C765B}" type="slidenum">
              <a:rPr lang="fr-FR" smtClean="0"/>
              <a:t>15</a:t>
            </a:fld>
            <a:endParaRPr lang="fr-FR"/>
          </a:p>
        </p:txBody>
      </p:sp>
    </p:spTree>
    <p:extLst>
      <p:ext uri="{BB962C8B-B14F-4D97-AF65-F5344CB8AC3E}">
        <p14:creationId xmlns:p14="http://schemas.microsoft.com/office/powerpoint/2010/main" val="1861270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b="0" i="0" dirty="0">
                <a:solidFill>
                  <a:srgbClr val="222222"/>
                </a:solidFill>
                <a:effectLst/>
                <a:latin typeface="Arial" panose="020B0604020202020204" pitchFamily="34" charset="0"/>
              </a:rPr>
              <a:t> *Les temps d'accès pour les mémoires quantiques peuvent varier considérablement en fonction de la technologie utilisée. Voici quelques points clés concernant les temps d'accès pour les mémoires quantiques : 1. **Mémoires à base d'ions piégés** : Ces systèmes peuvent avoir des temps de cohérence relativement longs, allant de millisecondes à secondes, mais les temps d'accès pour lire et écrire des informations peuvent être plus courts, souvent de l'ordre de microsecondes.</a:t>
            </a:r>
          </a:p>
          <a:p>
            <a:pPr algn="l"/>
            <a:r>
              <a:rPr lang="fr-FR" b="0" i="0" dirty="0">
                <a:solidFill>
                  <a:srgbClr val="222222"/>
                </a:solidFill>
                <a:effectLst/>
                <a:latin typeface="Arial" panose="020B0604020202020204" pitchFamily="34" charset="0"/>
              </a:rPr>
              <a:t>Expérimentation de </a:t>
            </a:r>
            <a:r>
              <a:rPr lang="fr-FR" b="0" i="0" dirty="0" err="1">
                <a:solidFill>
                  <a:srgbClr val="222222"/>
                </a:solidFill>
                <a:effectLst/>
                <a:latin typeface="Arial" panose="020B0604020202020204" pitchFamily="34" charset="0"/>
              </a:rPr>
              <a:t>stockholm</a:t>
            </a:r>
            <a:r>
              <a:rPr lang="fr-FR" b="0" i="0" dirty="0">
                <a:solidFill>
                  <a:srgbClr val="222222"/>
                </a:solidFill>
                <a:effectLst/>
                <a:latin typeface="Arial" panose="020B0604020202020204" pitchFamily="34" charset="0"/>
              </a:rPr>
              <a:t> : ligne les réseaux quantiques. &gt; </a:t>
            </a:r>
            <a:r>
              <a:rPr lang="fr-FR" b="0" i="0">
                <a:solidFill>
                  <a:srgbClr val="222222"/>
                </a:solidFill>
                <a:effectLst/>
                <a:latin typeface="Arial" panose="020B0604020202020204" pitchFamily="34" charset="0"/>
              </a:rPr>
              <a:t>à vérifier</a:t>
            </a:r>
            <a:endParaRPr lang="fr-FR" b="0" i="0" dirty="0">
              <a:solidFill>
                <a:srgbClr val="222222"/>
              </a:solidFill>
              <a:effectLst/>
              <a:latin typeface="Arial" panose="020B0604020202020204" pitchFamily="34" charset="0"/>
            </a:endParaRPr>
          </a:p>
          <a:p>
            <a:pPr algn="l"/>
            <a:br>
              <a:rPr lang="fr-FR" b="0" i="0" dirty="0">
                <a:solidFill>
                  <a:srgbClr val="222222"/>
                </a:solidFill>
                <a:effectLst/>
                <a:latin typeface="Arial" panose="020B0604020202020204" pitchFamily="34" charset="0"/>
              </a:rPr>
            </a:br>
            <a:endParaRPr lang="fr-FR" b="0" i="0" dirty="0">
              <a:solidFill>
                <a:srgbClr val="222222"/>
              </a:solidFill>
              <a:effectLst/>
              <a:latin typeface="Arial" panose="020B0604020202020204" pitchFamily="34" charset="0"/>
            </a:endParaRPr>
          </a:p>
          <a:p>
            <a:pPr algn="l"/>
            <a:r>
              <a:rPr lang="fr-FR" b="0" i="0" dirty="0">
                <a:solidFill>
                  <a:srgbClr val="222222"/>
                </a:solidFill>
                <a:effectLst/>
                <a:latin typeface="Arial" panose="020B0604020202020204" pitchFamily="34" charset="0"/>
              </a:rPr>
              <a:t>2. **Mémoires utilisant des centres NV dans le diamant** : Les centres azote-lacune (NV) dans le diamant sont connus pour leurs longs temps de cohérence à température ambiante. Les temps d'accès peuvent être de l'ordre de microsecondes.</a:t>
            </a:r>
          </a:p>
          <a:p>
            <a:pPr algn="l"/>
            <a:br>
              <a:rPr lang="fr-FR" b="0" i="0" dirty="0">
                <a:solidFill>
                  <a:srgbClr val="222222"/>
                </a:solidFill>
                <a:effectLst/>
                <a:latin typeface="Arial" panose="020B0604020202020204" pitchFamily="34" charset="0"/>
              </a:rPr>
            </a:br>
            <a:endParaRPr lang="fr-FR" b="0" i="0" dirty="0">
              <a:solidFill>
                <a:srgbClr val="222222"/>
              </a:solidFill>
              <a:effectLst/>
              <a:latin typeface="Arial" panose="020B0604020202020204" pitchFamily="34" charset="0"/>
            </a:endParaRPr>
          </a:p>
          <a:p>
            <a:pPr algn="l"/>
            <a:r>
              <a:rPr lang="fr-FR" b="0" i="0" dirty="0">
                <a:solidFill>
                  <a:srgbClr val="222222"/>
                </a:solidFill>
                <a:effectLst/>
                <a:latin typeface="Arial" panose="020B0604020202020204" pitchFamily="34" charset="0"/>
              </a:rPr>
              <a:t>3. **Mémoires à base d'ensembles atomiques** : Les systèmes utilisant des nuages d'atomes froids peuvent avoir des temps d'accès de l'ordre de microsecondes à millisecondes. Ces systèmes sont souvent utilisés pour leurs capacités de stockage multimode.</a:t>
            </a:r>
          </a:p>
          <a:p>
            <a:pPr algn="l"/>
            <a:br>
              <a:rPr lang="fr-FR" b="0" i="0" dirty="0">
                <a:solidFill>
                  <a:srgbClr val="222222"/>
                </a:solidFill>
                <a:effectLst/>
                <a:latin typeface="Arial" panose="020B0604020202020204" pitchFamily="34" charset="0"/>
              </a:rPr>
            </a:br>
            <a:endParaRPr lang="fr-FR" b="0" i="0" dirty="0">
              <a:solidFill>
                <a:srgbClr val="222222"/>
              </a:solidFill>
              <a:effectLst/>
              <a:latin typeface="Arial" panose="020B0604020202020204" pitchFamily="34" charset="0"/>
            </a:endParaRPr>
          </a:p>
          <a:p>
            <a:pPr algn="l"/>
            <a:r>
              <a:rPr lang="fr-FR" b="0" i="0" dirty="0">
                <a:solidFill>
                  <a:srgbClr val="222222"/>
                </a:solidFill>
                <a:effectLst/>
                <a:latin typeface="Arial" panose="020B0604020202020204" pitchFamily="34" charset="0"/>
              </a:rPr>
              <a:t>4. **Mémoires utilisant des terres rares dopées dans des cristaux** : Ces systèmes peuvent offrir des temps de cohérence très longs, allant jusqu'à des heures dans certains cas, mais les temps d'accès pour les opérations de lecture et d'écriture peuvent être de l'ordre de microsecondes à millisecondes.</a:t>
            </a:r>
          </a:p>
          <a:p>
            <a:pPr algn="l"/>
            <a:br>
              <a:rPr lang="fr-FR" b="0" i="0" dirty="0">
                <a:solidFill>
                  <a:srgbClr val="222222"/>
                </a:solidFill>
                <a:effectLst/>
                <a:latin typeface="Arial" panose="020B0604020202020204" pitchFamily="34" charset="0"/>
              </a:rPr>
            </a:br>
            <a:endParaRPr lang="fr-FR" b="0" i="0" dirty="0">
              <a:solidFill>
                <a:srgbClr val="222222"/>
              </a:solidFill>
              <a:effectLst/>
              <a:latin typeface="Arial" panose="020B0604020202020204" pitchFamily="34" charset="0"/>
            </a:endParaRPr>
          </a:p>
          <a:p>
            <a:pPr algn="l"/>
            <a:r>
              <a:rPr lang="fr-FR" b="0" i="0" dirty="0">
                <a:solidFill>
                  <a:srgbClr val="222222"/>
                </a:solidFill>
                <a:effectLst/>
                <a:latin typeface="Arial" panose="020B0604020202020204" pitchFamily="34" charset="0"/>
              </a:rPr>
              <a:t>5. **Mémoires optiques quantiques** : Les mémoires qui utilisent des techniques optiques pour stocker et récupérer des états quantiques peuvent avoir des temps d'accès très rapides, souvent de l'ordre de nanosecondes à microsecondes.</a:t>
            </a:r>
          </a:p>
          <a:p>
            <a:pPr algn="l"/>
            <a:br>
              <a:rPr lang="fr-FR" b="0" i="0" dirty="0">
                <a:solidFill>
                  <a:srgbClr val="222222"/>
                </a:solidFill>
                <a:effectLst/>
                <a:latin typeface="Arial" panose="020B0604020202020204" pitchFamily="34" charset="0"/>
              </a:rPr>
            </a:br>
            <a:endParaRPr lang="fr-FR" b="0" i="0" dirty="0">
              <a:solidFill>
                <a:srgbClr val="222222"/>
              </a:solidFill>
              <a:effectLst/>
              <a:latin typeface="Arial" panose="020B0604020202020204" pitchFamily="34" charset="0"/>
            </a:endParaRPr>
          </a:p>
          <a:p>
            <a:pPr algn="l"/>
            <a:r>
              <a:rPr lang="fr-FR" b="0" i="0" dirty="0">
                <a:solidFill>
                  <a:srgbClr val="222222"/>
                </a:solidFill>
                <a:effectLst/>
                <a:latin typeface="Arial" panose="020B0604020202020204" pitchFamily="34" charset="0"/>
              </a:rPr>
              <a:t>Il est important de noter que le domaine des mémoires quantiques est encore en développement, et les performances des dispositifs peuvent varier considérablement en fonction des avancées technologiques et des conditions expérimentales. Les chercheurs travaillent continuellement à améliorer les temps de cohérence, les temps d'accès et l'efficacité globale des mémoires quantiques.</a:t>
            </a:r>
          </a:p>
          <a:p>
            <a:endParaRPr lang="fr-FR" dirty="0"/>
          </a:p>
        </p:txBody>
      </p:sp>
      <p:sp>
        <p:nvSpPr>
          <p:cNvPr id="4" name="Espace réservé du numéro de diapositive 3"/>
          <p:cNvSpPr>
            <a:spLocks noGrp="1"/>
          </p:cNvSpPr>
          <p:nvPr>
            <p:ph type="sldNum" sz="quarter" idx="5"/>
          </p:nvPr>
        </p:nvSpPr>
        <p:spPr/>
        <p:txBody>
          <a:bodyPr/>
          <a:lstStyle/>
          <a:p>
            <a:fld id="{E01198CF-A1B6-44DE-8859-E7128A7C765B}" type="slidenum">
              <a:rPr lang="fr-FR" smtClean="0"/>
              <a:t>21</a:t>
            </a:fld>
            <a:endParaRPr lang="fr-FR"/>
          </a:p>
        </p:txBody>
      </p:sp>
    </p:spTree>
    <p:extLst>
      <p:ext uri="{BB962C8B-B14F-4D97-AF65-F5344CB8AC3E}">
        <p14:creationId xmlns:p14="http://schemas.microsoft.com/office/powerpoint/2010/main" val="3788643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ire de la présentatio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2969" y="452968"/>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a:t>Cliquez pour modifier les styles du texte du masque</a:t>
            </a:r>
          </a:p>
          <a:p>
            <a:pPr lvl="1"/>
            <a:r>
              <a:rPr lang="fr-FR"/>
              <a:t>Deuxième niveau</a:t>
            </a:r>
          </a:p>
        </p:txBody>
      </p:sp>
      <p:sp>
        <p:nvSpPr>
          <p:cNvPr id="3" name="Text Placeholder 2"/>
          <p:cNvSpPr>
            <a:spLocks noGrp="1"/>
          </p:cNvSpPr>
          <p:nvPr>
            <p:ph type="body" sz="quarter" idx="12"/>
          </p:nvPr>
        </p:nvSpPr>
        <p:spPr>
          <a:xfrm>
            <a:off x="8678335" y="452968"/>
            <a:ext cx="3069167" cy="4614333"/>
          </a:xfrm>
        </p:spPr>
        <p:txBody>
          <a:bodyPr tIns="109728"/>
          <a:lstStyle>
            <a:lvl1pPr>
              <a:spcAft>
                <a:spcPts val="3200"/>
              </a:spcAft>
              <a:defRPr>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a:t>Cliquez pour modifier les styles du texte du masque</a:t>
            </a:r>
          </a:p>
          <a:p>
            <a:pPr lvl="1"/>
            <a:r>
              <a:rPr lang="fr-FR"/>
              <a:t>Deuxième niveau</a:t>
            </a:r>
          </a:p>
        </p:txBody>
      </p:sp>
      <p:grpSp>
        <p:nvGrpSpPr>
          <p:cNvPr id="2" name="Group 1"/>
          <p:cNvGrpSpPr/>
          <p:nvPr/>
        </p:nvGrpSpPr>
        <p:grpSpPr>
          <a:xfrm>
            <a:off x="452967" y="5509686"/>
            <a:ext cx="2497668" cy="910167"/>
            <a:chOff x="339725" y="4132263"/>
            <a:chExt cx="1873251" cy="682625"/>
          </a:xfrm>
        </p:grpSpPr>
        <p:grpSp>
          <p:nvGrpSpPr>
            <p:cNvPr id="34" name="Group 33"/>
            <p:cNvGrpSpPr/>
            <p:nvPr/>
          </p:nvGrpSpPr>
          <p:grpSpPr>
            <a:xfrm>
              <a:off x="339725" y="4132263"/>
              <a:ext cx="674688" cy="677863"/>
              <a:chOff x="339725" y="4132263"/>
              <a:chExt cx="674688" cy="677863"/>
            </a:xfrm>
          </p:grpSpPr>
          <p:sp>
            <p:nvSpPr>
              <p:cNvPr id="80" name="Rectangle 7"/>
              <p:cNvSpPr>
                <a:spLocks noChangeArrowheads="1"/>
              </p:cNvSpPr>
              <p:nvPr/>
            </p:nvSpPr>
            <p:spPr bwMode="auto">
              <a:xfrm>
                <a:off x="339725" y="4132263"/>
                <a:ext cx="674688" cy="677863"/>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1" name="Freeform 8"/>
              <p:cNvSpPr>
                <a:spLocks noEditPoints="1"/>
              </p:cNvSpPr>
              <p:nvPr/>
            </p:nvSpPr>
            <p:spPr bwMode="auto">
              <a:xfrm>
                <a:off x="546100" y="4656138"/>
                <a:ext cx="82550" cy="98425"/>
              </a:xfrm>
              <a:custGeom>
                <a:avLst/>
                <a:gdLst>
                  <a:gd name="T0" fmla="*/ 46 w 65"/>
                  <a:gd name="T1" fmla="*/ 69 h 76"/>
                  <a:gd name="T2" fmla="*/ 22 w 65"/>
                  <a:gd name="T3" fmla="*/ 76 h 76"/>
                  <a:gd name="T4" fmla="*/ 0 w 65"/>
                  <a:gd name="T5" fmla="*/ 55 h 76"/>
                  <a:gd name="T6" fmla="*/ 46 w 65"/>
                  <a:gd name="T7" fmla="*/ 26 h 76"/>
                  <a:gd name="T8" fmla="*/ 46 w 65"/>
                  <a:gd name="T9" fmla="*/ 22 h 76"/>
                  <a:gd name="T10" fmla="*/ 35 w 65"/>
                  <a:gd name="T11" fmla="*/ 14 h 76"/>
                  <a:gd name="T12" fmla="*/ 17 w 65"/>
                  <a:gd name="T13" fmla="*/ 22 h 76"/>
                  <a:gd name="T14" fmla="*/ 4 w 65"/>
                  <a:gd name="T15" fmla="*/ 15 h 76"/>
                  <a:gd name="T16" fmla="*/ 35 w 65"/>
                  <a:gd name="T17" fmla="*/ 0 h 76"/>
                  <a:gd name="T18" fmla="*/ 65 w 65"/>
                  <a:gd name="T19" fmla="*/ 22 h 76"/>
                  <a:gd name="T20" fmla="*/ 65 w 65"/>
                  <a:gd name="T21" fmla="*/ 75 h 76"/>
                  <a:gd name="T22" fmla="*/ 48 w 65"/>
                  <a:gd name="T23" fmla="*/ 75 h 76"/>
                  <a:gd name="T24" fmla="*/ 46 w 65"/>
                  <a:gd name="T25" fmla="*/ 69 h 76"/>
                  <a:gd name="T26" fmla="*/ 19 w 65"/>
                  <a:gd name="T27" fmla="*/ 53 h 76"/>
                  <a:gd name="T28" fmla="*/ 28 w 65"/>
                  <a:gd name="T29" fmla="*/ 63 h 76"/>
                  <a:gd name="T30" fmla="*/ 45 w 65"/>
                  <a:gd name="T31" fmla="*/ 55 h 76"/>
                  <a:gd name="T32" fmla="*/ 45 w 65"/>
                  <a:gd name="T33" fmla="*/ 38 h 76"/>
                  <a:gd name="T34" fmla="*/ 19 w 65"/>
                  <a:gd name="T35" fmla="*/ 5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76">
                    <a:moveTo>
                      <a:pt x="46" y="69"/>
                    </a:moveTo>
                    <a:cubicBezTo>
                      <a:pt x="38" y="73"/>
                      <a:pt x="30" y="76"/>
                      <a:pt x="22" y="76"/>
                    </a:cubicBezTo>
                    <a:cubicBezTo>
                      <a:pt x="8" y="76"/>
                      <a:pt x="0" y="67"/>
                      <a:pt x="0" y="55"/>
                    </a:cubicBezTo>
                    <a:cubicBezTo>
                      <a:pt x="0" y="38"/>
                      <a:pt x="15" y="29"/>
                      <a:pt x="46" y="26"/>
                    </a:cubicBezTo>
                    <a:cubicBezTo>
                      <a:pt x="46" y="22"/>
                      <a:pt x="46" y="22"/>
                      <a:pt x="46" y="22"/>
                    </a:cubicBezTo>
                    <a:cubicBezTo>
                      <a:pt x="46" y="17"/>
                      <a:pt x="42" y="14"/>
                      <a:pt x="35" y="14"/>
                    </a:cubicBezTo>
                    <a:cubicBezTo>
                      <a:pt x="27" y="14"/>
                      <a:pt x="21" y="16"/>
                      <a:pt x="17" y="22"/>
                    </a:cubicBezTo>
                    <a:cubicBezTo>
                      <a:pt x="4" y="15"/>
                      <a:pt x="4" y="15"/>
                      <a:pt x="4" y="15"/>
                    </a:cubicBezTo>
                    <a:cubicBezTo>
                      <a:pt x="11" y="5"/>
                      <a:pt x="21" y="0"/>
                      <a:pt x="35" y="0"/>
                    </a:cubicBezTo>
                    <a:cubicBezTo>
                      <a:pt x="54" y="0"/>
                      <a:pt x="65" y="8"/>
                      <a:pt x="65" y="22"/>
                    </a:cubicBezTo>
                    <a:cubicBezTo>
                      <a:pt x="65" y="22"/>
                      <a:pt x="65" y="75"/>
                      <a:pt x="65" y="75"/>
                    </a:cubicBezTo>
                    <a:cubicBezTo>
                      <a:pt x="48" y="75"/>
                      <a:pt x="48" y="75"/>
                      <a:pt x="48" y="75"/>
                    </a:cubicBezTo>
                    <a:lnTo>
                      <a:pt x="46" y="69"/>
                    </a:lnTo>
                    <a:close/>
                    <a:moveTo>
                      <a:pt x="19" y="53"/>
                    </a:moveTo>
                    <a:cubicBezTo>
                      <a:pt x="19" y="58"/>
                      <a:pt x="22" y="63"/>
                      <a:pt x="28" y="63"/>
                    </a:cubicBezTo>
                    <a:cubicBezTo>
                      <a:pt x="34" y="63"/>
                      <a:pt x="40" y="60"/>
                      <a:pt x="45" y="55"/>
                    </a:cubicBezTo>
                    <a:cubicBezTo>
                      <a:pt x="45" y="38"/>
                      <a:pt x="45" y="38"/>
                      <a:pt x="45" y="38"/>
                    </a:cubicBezTo>
                    <a:cubicBezTo>
                      <a:pt x="27" y="40"/>
                      <a:pt x="19" y="44"/>
                      <a:pt x="19"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2" name="Freeform 9"/>
              <p:cNvSpPr>
                <a:spLocks/>
              </p:cNvSpPr>
              <p:nvPr/>
            </p:nvSpPr>
            <p:spPr bwMode="auto">
              <a:xfrm>
                <a:off x="647700" y="4656138"/>
                <a:ext cx="85725" cy="96838"/>
              </a:xfrm>
              <a:custGeom>
                <a:avLst/>
                <a:gdLst>
                  <a:gd name="T0" fmla="*/ 0 w 66"/>
                  <a:gd name="T1" fmla="*/ 4 h 75"/>
                  <a:gd name="T2" fmla="*/ 16 w 66"/>
                  <a:gd name="T3" fmla="*/ 2 h 75"/>
                  <a:gd name="T4" fmla="*/ 18 w 66"/>
                  <a:gd name="T5" fmla="*/ 10 h 75"/>
                  <a:gd name="T6" fmla="*/ 43 w 66"/>
                  <a:gd name="T7" fmla="*/ 0 h 75"/>
                  <a:gd name="T8" fmla="*/ 66 w 66"/>
                  <a:gd name="T9" fmla="*/ 24 h 75"/>
                  <a:gd name="T10" fmla="*/ 66 w 66"/>
                  <a:gd name="T11" fmla="*/ 75 h 75"/>
                  <a:gd name="T12" fmla="*/ 46 w 66"/>
                  <a:gd name="T13" fmla="*/ 75 h 75"/>
                  <a:gd name="T14" fmla="*/ 46 w 66"/>
                  <a:gd name="T15" fmla="*/ 27 h 75"/>
                  <a:gd name="T16" fmla="*/ 37 w 66"/>
                  <a:gd name="T17" fmla="*/ 14 h 75"/>
                  <a:gd name="T18" fmla="*/ 19 w 66"/>
                  <a:gd name="T19" fmla="*/ 22 h 75"/>
                  <a:gd name="T20" fmla="*/ 19 w 66"/>
                  <a:gd name="T21" fmla="*/ 75 h 75"/>
                  <a:gd name="T22" fmla="*/ 0 w 66"/>
                  <a:gd name="T23" fmla="*/ 75 h 75"/>
                  <a:gd name="T24" fmla="*/ 0 w 66"/>
                  <a:gd name="T25" fmla="*/ 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5">
                    <a:moveTo>
                      <a:pt x="0" y="4"/>
                    </a:moveTo>
                    <a:cubicBezTo>
                      <a:pt x="16" y="2"/>
                      <a:pt x="16" y="2"/>
                      <a:pt x="16" y="2"/>
                    </a:cubicBezTo>
                    <a:cubicBezTo>
                      <a:pt x="18" y="10"/>
                      <a:pt x="18" y="10"/>
                      <a:pt x="18" y="10"/>
                    </a:cubicBezTo>
                    <a:cubicBezTo>
                      <a:pt x="27" y="4"/>
                      <a:pt x="34" y="0"/>
                      <a:pt x="43" y="0"/>
                    </a:cubicBezTo>
                    <a:cubicBezTo>
                      <a:pt x="58" y="0"/>
                      <a:pt x="66" y="8"/>
                      <a:pt x="66" y="24"/>
                    </a:cubicBezTo>
                    <a:cubicBezTo>
                      <a:pt x="66" y="75"/>
                      <a:pt x="66" y="75"/>
                      <a:pt x="66" y="75"/>
                    </a:cubicBezTo>
                    <a:cubicBezTo>
                      <a:pt x="46" y="75"/>
                      <a:pt x="46" y="75"/>
                      <a:pt x="46" y="75"/>
                    </a:cubicBezTo>
                    <a:cubicBezTo>
                      <a:pt x="46" y="27"/>
                      <a:pt x="46" y="27"/>
                      <a:pt x="46" y="27"/>
                    </a:cubicBezTo>
                    <a:cubicBezTo>
                      <a:pt x="46" y="18"/>
                      <a:pt x="44" y="14"/>
                      <a:pt x="37" y="14"/>
                    </a:cubicBezTo>
                    <a:cubicBezTo>
                      <a:pt x="31" y="14"/>
                      <a:pt x="26" y="17"/>
                      <a:pt x="19" y="22"/>
                    </a:cubicBezTo>
                    <a:cubicBezTo>
                      <a:pt x="19" y="75"/>
                      <a:pt x="19" y="75"/>
                      <a:pt x="19" y="75"/>
                    </a:cubicBezTo>
                    <a:cubicBezTo>
                      <a:pt x="0" y="75"/>
                      <a:pt x="0" y="75"/>
                      <a:pt x="0" y="75"/>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3" name="Freeform 10"/>
              <p:cNvSpPr>
                <a:spLocks noEditPoints="1"/>
              </p:cNvSpPr>
              <p:nvPr/>
            </p:nvSpPr>
            <p:spPr bwMode="auto">
              <a:xfrm>
                <a:off x="852488" y="4656138"/>
                <a:ext cx="87313" cy="98425"/>
              </a:xfrm>
              <a:custGeom>
                <a:avLst/>
                <a:gdLst>
                  <a:gd name="T0" fmla="*/ 34 w 67"/>
                  <a:gd name="T1" fmla="*/ 76 h 76"/>
                  <a:gd name="T2" fmla="*/ 0 w 67"/>
                  <a:gd name="T3" fmla="*/ 38 h 76"/>
                  <a:gd name="T4" fmla="*/ 34 w 67"/>
                  <a:gd name="T5" fmla="*/ 0 h 76"/>
                  <a:gd name="T6" fmla="*/ 67 w 67"/>
                  <a:gd name="T7" fmla="*/ 37 h 76"/>
                  <a:gd name="T8" fmla="*/ 67 w 67"/>
                  <a:gd name="T9" fmla="*/ 41 h 76"/>
                  <a:gd name="T10" fmla="*/ 19 w 67"/>
                  <a:gd name="T11" fmla="*/ 41 h 76"/>
                  <a:gd name="T12" fmla="*/ 36 w 67"/>
                  <a:gd name="T13" fmla="*/ 62 h 76"/>
                  <a:gd name="T14" fmla="*/ 52 w 67"/>
                  <a:gd name="T15" fmla="*/ 53 h 76"/>
                  <a:gd name="T16" fmla="*/ 67 w 67"/>
                  <a:gd name="T17" fmla="*/ 60 h 76"/>
                  <a:gd name="T18" fmla="*/ 34 w 67"/>
                  <a:gd name="T19" fmla="*/ 76 h 76"/>
                  <a:gd name="T20" fmla="*/ 49 w 67"/>
                  <a:gd name="T21" fmla="*/ 29 h 76"/>
                  <a:gd name="T22" fmla="*/ 34 w 67"/>
                  <a:gd name="T23" fmla="*/ 13 h 76"/>
                  <a:gd name="T24" fmla="*/ 19 w 67"/>
                  <a:gd name="T25" fmla="*/ 29 h 76"/>
                  <a:gd name="T26" fmla="*/ 49 w 67"/>
                  <a:gd name="T27" fmla="*/ 2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76">
                    <a:moveTo>
                      <a:pt x="34" y="76"/>
                    </a:moveTo>
                    <a:cubicBezTo>
                      <a:pt x="13" y="76"/>
                      <a:pt x="0" y="62"/>
                      <a:pt x="0" y="38"/>
                    </a:cubicBezTo>
                    <a:cubicBezTo>
                      <a:pt x="0" y="14"/>
                      <a:pt x="13" y="0"/>
                      <a:pt x="34" y="0"/>
                    </a:cubicBezTo>
                    <a:cubicBezTo>
                      <a:pt x="55" y="0"/>
                      <a:pt x="67" y="14"/>
                      <a:pt x="67" y="37"/>
                    </a:cubicBezTo>
                    <a:cubicBezTo>
                      <a:pt x="67" y="39"/>
                      <a:pt x="67" y="40"/>
                      <a:pt x="67" y="41"/>
                    </a:cubicBezTo>
                    <a:cubicBezTo>
                      <a:pt x="19" y="41"/>
                      <a:pt x="19" y="41"/>
                      <a:pt x="19" y="41"/>
                    </a:cubicBezTo>
                    <a:cubicBezTo>
                      <a:pt x="19" y="55"/>
                      <a:pt x="24" y="62"/>
                      <a:pt x="36" y="62"/>
                    </a:cubicBezTo>
                    <a:cubicBezTo>
                      <a:pt x="43" y="62"/>
                      <a:pt x="48" y="59"/>
                      <a:pt x="52" y="53"/>
                    </a:cubicBezTo>
                    <a:cubicBezTo>
                      <a:pt x="67" y="60"/>
                      <a:pt x="67" y="60"/>
                      <a:pt x="67" y="60"/>
                    </a:cubicBezTo>
                    <a:cubicBezTo>
                      <a:pt x="60" y="71"/>
                      <a:pt x="49" y="76"/>
                      <a:pt x="34" y="76"/>
                    </a:cubicBezTo>
                    <a:close/>
                    <a:moveTo>
                      <a:pt x="49" y="29"/>
                    </a:moveTo>
                    <a:cubicBezTo>
                      <a:pt x="49" y="19"/>
                      <a:pt x="43" y="13"/>
                      <a:pt x="34" y="13"/>
                    </a:cubicBezTo>
                    <a:cubicBezTo>
                      <a:pt x="25" y="13"/>
                      <a:pt x="20" y="19"/>
                      <a:pt x="19" y="29"/>
                    </a:cubicBezTo>
                    <a:lnTo>
                      <a:pt x="4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4" name="Freeform 11"/>
              <p:cNvSpPr>
                <a:spLocks noEditPoints="1"/>
              </p:cNvSpPr>
              <p:nvPr/>
            </p:nvSpPr>
            <p:spPr bwMode="auto">
              <a:xfrm>
                <a:off x="376238" y="4656138"/>
                <a:ext cx="93663" cy="100013"/>
              </a:xfrm>
              <a:custGeom>
                <a:avLst/>
                <a:gdLst>
                  <a:gd name="T0" fmla="*/ 36 w 73"/>
                  <a:gd name="T1" fmla="*/ 77 h 77"/>
                  <a:gd name="T2" fmla="*/ 0 w 73"/>
                  <a:gd name="T3" fmla="*/ 38 h 77"/>
                  <a:gd name="T4" fmla="*/ 36 w 73"/>
                  <a:gd name="T5" fmla="*/ 0 h 77"/>
                  <a:gd name="T6" fmla="*/ 73 w 73"/>
                  <a:gd name="T7" fmla="*/ 38 h 77"/>
                  <a:gd name="T8" fmla="*/ 36 w 73"/>
                  <a:gd name="T9" fmla="*/ 77 h 77"/>
                  <a:gd name="T10" fmla="*/ 36 w 73"/>
                  <a:gd name="T11" fmla="*/ 16 h 77"/>
                  <a:gd name="T12" fmla="*/ 19 w 73"/>
                  <a:gd name="T13" fmla="*/ 38 h 77"/>
                  <a:gd name="T14" fmla="*/ 36 w 73"/>
                  <a:gd name="T15" fmla="*/ 61 h 77"/>
                  <a:gd name="T16" fmla="*/ 53 w 73"/>
                  <a:gd name="T17" fmla="*/ 38 h 77"/>
                  <a:gd name="T18" fmla="*/ 36 w 73"/>
                  <a:gd name="T19"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7">
                    <a:moveTo>
                      <a:pt x="36" y="77"/>
                    </a:moveTo>
                    <a:cubicBezTo>
                      <a:pt x="17" y="77"/>
                      <a:pt x="0" y="65"/>
                      <a:pt x="0" y="38"/>
                    </a:cubicBezTo>
                    <a:cubicBezTo>
                      <a:pt x="0" y="12"/>
                      <a:pt x="17" y="0"/>
                      <a:pt x="36" y="0"/>
                    </a:cubicBezTo>
                    <a:cubicBezTo>
                      <a:pt x="55" y="0"/>
                      <a:pt x="73" y="12"/>
                      <a:pt x="73" y="38"/>
                    </a:cubicBezTo>
                    <a:cubicBezTo>
                      <a:pt x="73" y="65"/>
                      <a:pt x="55" y="77"/>
                      <a:pt x="36" y="77"/>
                    </a:cubicBezTo>
                    <a:close/>
                    <a:moveTo>
                      <a:pt x="36" y="16"/>
                    </a:moveTo>
                    <a:cubicBezTo>
                      <a:pt x="22" y="16"/>
                      <a:pt x="19" y="29"/>
                      <a:pt x="19" y="38"/>
                    </a:cubicBezTo>
                    <a:cubicBezTo>
                      <a:pt x="19" y="48"/>
                      <a:pt x="22" y="61"/>
                      <a:pt x="36" y="61"/>
                    </a:cubicBezTo>
                    <a:cubicBezTo>
                      <a:pt x="51" y="61"/>
                      <a:pt x="53" y="48"/>
                      <a:pt x="53" y="38"/>
                    </a:cubicBezTo>
                    <a:cubicBezTo>
                      <a:pt x="53" y="29"/>
                      <a:pt x="51" y="16"/>
                      <a:pt x="3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5" name="Freeform 12"/>
              <p:cNvSpPr>
                <a:spLocks/>
              </p:cNvSpPr>
              <p:nvPr/>
            </p:nvSpPr>
            <p:spPr bwMode="auto">
              <a:xfrm>
                <a:off x="485775" y="4656138"/>
                <a:ext cx="53975" cy="96838"/>
              </a:xfrm>
              <a:custGeom>
                <a:avLst/>
                <a:gdLst>
                  <a:gd name="T0" fmla="*/ 0 w 41"/>
                  <a:gd name="T1" fmla="*/ 2 h 75"/>
                  <a:gd name="T2" fmla="*/ 18 w 41"/>
                  <a:gd name="T3" fmla="*/ 2 h 75"/>
                  <a:gd name="T4" fmla="*/ 18 w 41"/>
                  <a:gd name="T5" fmla="*/ 10 h 75"/>
                  <a:gd name="T6" fmla="*/ 38 w 41"/>
                  <a:gd name="T7" fmla="*/ 0 h 75"/>
                  <a:gd name="T8" fmla="*/ 41 w 41"/>
                  <a:gd name="T9" fmla="*/ 0 h 75"/>
                  <a:gd name="T10" fmla="*/ 41 w 41"/>
                  <a:gd name="T11" fmla="*/ 18 h 75"/>
                  <a:gd name="T12" fmla="*/ 40 w 41"/>
                  <a:gd name="T13" fmla="*/ 18 h 75"/>
                  <a:gd name="T14" fmla="*/ 19 w 41"/>
                  <a:gd name="T15" fmla="*/ 26 h 75"/>
                  <a:gd name="T16" fmla="*/ 19 w 41"/>
                  <a:gd name="T17" fmla="*/ 75 h 75"/>
                  <a:gd name="T18" fmla="*/ 0 w 41"/>
                  <a:gd name="T19" fmla="*/ 75 h 75"/>
                  <a:gd name="T20" fmla="*/ 0 w 41"/>
                  <a:gd name="T21"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75">
                    <a:moveTo>
                      <a:pt x="0" y="2"/>
                    </a:moveTo>
                    <a:cubicBezTo>
                      <a:pt x="18" y="2"/>
                      <a:pt x="18" y="2"/>
                      <a:pt x="18" y="2"/>
                    </a:cubicBezTo>
                    <a:cubicBezTo>
                      <a:pt x="18" y="10"/>
                      <a:pt x="18" y="10"/>
                      <a:pt x="18" y="10"/>
                    </a:cubicBezTo>
                    <a:cubicBezTo>
                      <a:pt x="22" y="6"/>
                      <a:pt x="30" y="0"/>
                      <a:pt x="38" y="0"/>
                    </a:cubicBezTo>
                    <a:cubicBezTo>
                      <a:pt x="39" y="0"/>
                      <a:pt x="40" y="0"/>
                      <a:pt x="41" y="0"/>
                    </a:cubicBezTo>
                    <a:cubicBezTo>
                      <a:pt x="41" y="18"/>
                      <a:pt x="41" y="18"/>
                      <a:pt x="41" y="18"/>
                    </a:cubicBezTo>
                    <a:cubicBezTo>
                      <a:pt x="40" y="18"/>
                      <a:pt x="40" y="18"/>
                      <a:pt x="40" y="18"/>
                    </a:cubicBezTo>
                    <a:cubicBezTo>
                      <a:pt x="31" y="18"/>
                      <a:pt x="22" y="20"/>
                      <a:pt x="19" y="26"/>
                    </a:cubicBezTo>
                    <a:cubicBezTo>
                      <a:pt x="19" y="75"/>
                      <a:pt x="19" y="75"/>
                      <a:pt x="19" y="75"/>
                    </a:cubicBezTo>
                    <a:cubicBezTo>
                      <a:pt x="0" y="75"/>
                      <a:pt x="0" y="75"/>
                      <a:pt x="0" y="75"/>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6" name="Freeform 13"/>
              <p:cNvSpPr>
                <a:spLocks noEditPoints="1"/>
              </p:cNvSpPr>
              <p:nvPr/>
            </p:nvSpPr>
            <p:spPr bwMode="auto">
              <a:xfrm>
                <a:off x="749300" y="4656138"/>
                <a:ext cx="88900" cy="133350"/>
              </a:xfrm>
              <a:custGeom>
                <a:avLst/>
                <a:gdLst>
                  <a:gd name="T0" fmla="*/ 34 w 68"/>
                  <a:gd name="T1" fmla="*/ 59 h 103"/>
                  <a:gd name="T2" fmla="*/ 50 w 68"/>
                  <a:gd name="T3" fmla="*/ 35 h 103"/>
                  <a:gd name="T4" fmla="*/ 34 w 68"/>
                  <a:gd name="T5" fmla="*/ 14 h 103"/>
                  <a:gd name="T6" fmla="*/ 19 w 68"/>
                  <a:gd name="T7" fmla="*/ 35 h 103"/>
                  <a:gd name="T8" fmla="*/ 34 w 68"/>
                  <a:gd name="T9" fmla="*/ 59 h 103"/>
                  <a:gd name="T10" fmla="*/ 68 w 68"/>
                  <a:gd name="T11" fmla="*/ 1 h 103"/>
                  <a:gd name="T12" fmla="*/ 68 w 68"/>
                  <a:gd name="T13" fmla="*/ 71 h 103"/>
                  <a:gd name="T14" fmla="*/ 32 w 68"/>
                  <a:gd name="T15" fmla="*/ 103 h 103"/>
                  <a:gd name="T16" fmla="*/ 2 w 68"/>
                  <a:gd name="T17" fmla="*/ 85 h 103"/>
                  <a:gd name="T18" fmla="*/ 21 w 68"/>
                  <a:gd name="T19" fmla="*/ 82 h 103"/>
                  <a:gd name="T20" fmla="*/ 35 w 68"/>
                  <a:gd name="T21" fmla="*/ 89 h 103"/>
                  <a:gd name="T22" fmla="*/ 49 w 68"/>
                  <a:gd name="T23" fmla="*/ 73 h 103"/>
                  <a:gd name="T24" fmla="*/ 49 w 68"/>
                  <a:gd name="T25" fmla="*/ 65 h 103"/>
                  <a:gd name="T26" fmla="*/ 49 w 68"/>
                  <a:gd name="T27" fmla="*/ 64 h 103"/>
                  <a:gd name="T28" fmla="*/ 30 w 68"/>
                  <a:gd name="T29" fmla="*/ 75 h 103"/>
                  <a:gd name="T30" fmla="*/ 0 w 68"/>
                  <a:gd name="T31" fmla="*/ 38 h 103"/>
                  <a:gd name="T32" fmla="*/ 29 w 68"/>
                  <a:gd name="T33" fmla="*/ 0 h 103"/>
                  <a:gd name="T34" fmla="*/ 50 w 68"/>
                  <a:gd name="T35" fmla="*/ 10 h 103"/>
                  <a:gd name="T36" fmla="*/ 50 w 68"/>
                  <a:gd name="T37" fmla="*/ 10 h 103"/>
                  <a:gd name="T38" fmla="*/ 52 w 68"/>
                  <a:gd name="T39" fmla="*/ 1 h 103"/>
                  <a:gd name="T40" fmla="*/ 68 w 68"/>
                  <a:gd name="T41"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03">
                    <a:moveTo>
                      <a:pt x="34" y="59"/>
                    </a:moveTo>
                    <a:cubicBezTo>
                      <a:pt x="48" y="59"/>
                      <a:pt x="50" y="44"/>
                      <a:pt x="50" y="35"/>
                    </a:cubicBezTo>
                    <a:cubicBezTo>
                      <a:pt x="50" y="23"/>
                      <a:pt x="44" y="14"/>
                      <a:pt x="34" y="14"/>
                    </a:cubicBezTo>
                    <a:cubicBezTo>
                      <a:pt x="27" y="14"/>
                      <a:pt x="19" y="19"/>
                      <a:pt x="19" y="35"/>
                    </a:cubicBezTo>
                    <a:cubicBezTo>
                      <a:pt x="19" y="44"/>
                      <a:pt x="20" y="59"/>
                      <a:pt x="34" y="59"/>
                    </a:cubicBezTo>
                    <a:close/>
                    <a:moveTo>
                      <a:pt x="68" y="1"/>
                    </a:moveTo>
                    <a:cubicBezTo>
                      <a:pt x="68" y="71"/>
                      <a:pt x="68" y="71"/>
                      <a:pt x="68" y="71"/>
                    </a:cubicBezTo>
                    <a:cubicBezTo>
                      <a:pt x="68" y="83"/>
                      <a:pt x="67" y="103"/>
                      <a:pt x="32" y="103"/>
                    </a:cubicBezTo>
                    <a:cubicBezTo>
                      <a:pt x="18" y="103"/>
                      <a:pt x="5" y="98"/>
                      <a:pt x="2" y="85"/>
                    </a:cubicBezTo>
                    <a:cubicBezTo>
                      <a:pt x="21" y="82"/>
                      <a:pt x="21" y="82"/>
                      <a:pt x="21" y="82"/>
                    </a:cubicBezTo>
                    <a:cubicBezTo>
                      <a:pt x="22" y="86"/>
                      <a:pt x="24" y="89"/>
                      <a:pt x="35" y="89"/>
                    </a:cubicBezTo>
                    <a:cubicBezTo>
                      <a:pt x="45" y="89"/>
                      <a:pt x="49" y="84"/>
                      <a:pt x="49" y="73"/>
                    </a:cubicBezTo>
                    <a:cubicBezTo>
                      <a:pt x="49" y="65"/>
                      <a:pt x="49" y="65"/>
                      <a:pt x="49" y="65"/>
                    </a:cubicBezTo>
                    <a:cubicBezTo>
                      <a:pt x="49" y="64"/>
                      <a:pt x="49" y="64"/>
                      <a:pt x="49" y="64"/>
                    </a:cubicBezTo>
                    <a:cubicBezTo>
                      <a:pt x="46" y="70"/>
                      <a:pt x="41" y="75"/>
                      <a:pt x="30" y="75"/>
                    </a:cubicBezTo>
                    <a:cubicBezTo>
                      <a:pt x="13" y="75"/>
                      <a:pt x="0" y="63"/>
                      <a:pt x="0" y="38"/>
                    </a:cubicBezTo>
                    <a:cubicBezTo>
                      <a:pt x="0" y="14"/>
                      <a:pt x="14" y="0"/>
                      <a:pt x="29" y="0"/>
                    </a:cubicBezTo>
                    <a:cubicBezTo>
                      <a:pt x="44" y="0"/>
                      <a:pt x="49" y="7"/>
                      <a:pt x="50" y="10"/>
                    </a:cubicBezTo>
                    <a:cubicBezTo>
                      <a:pt x="50" y="10"/>
                      <a:pt x="50" y="10"/>
                      <a:pt x="50" y="10"/>
                    </a:cubicBezTo>
                    <a:cubicBezTo>
                      <a:pt x="52" y="1"/>
                      <a:pt x="52" y="1"/>
                      <a:pt x="52" y="1"/>
                    </a:cubicBez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7" name="Freeform 14"/>
              <p:cNvSpPr>
                <a:spLocks noEditPoints="1"/>
              </p:cNvSpPr>
              <p:nvPr/>
            </p:nvSpPr>
            <p:spPr bwMode="auto">
              <a:xfrm>
                <a:off x="925513" y="4622801"/>
                <a:ext cx="65088" cy="30163"/>
              </a:xfrm>
              <a:custGeom>
                <a:avLst/>
                <a:gdLst>
                  <a:gd name="T0" fmla="*/ 15 w 41"/>
                  <a:gd name="T1" fmla="*/ 2 h 19"/>
                  <a:gd name="T2" fmla="*/ 9 w 41"/>
                  <a:gd name="T3" fmla="*/ 2 h 19"/>
                  <a:gd name="T4" fmla="*/ 9 w 41"/>
                  <a:gd name="T5" fmla="*/ 19 h 19"/>
                  <a:gd name="T6" fmla="*/ 5 w 41"/>
                  <a:gd name="T7" fmla="*/ 19 h 19"/>
                  <a:gd name="T8" fmla="*/ 5 w 41"/>
                  <a:gd name="T9" fmla="*/ 2 h 19"/>
                  <a:gd name="T10" fmla="*/ 0 w 41"/>
                  <a:gd name="T11" fmla="*/ 2 h 19"/>
                  <a:gd name="T12" fmla="*/ 0 w 41"/>
                  <a:gd name="T13" fmla="*/ 0 h 19"/>
                  <a:gd name="T14" fmla="*/ 15 w 41"/>
                  <a:gd name="T15" fmla="*/ 0 h 19"/>
                  <a:gd name="T16" fmla="*/ 15 w 41"/>
                  <a:gd name="T17" fmla="*/ 2 h 19"/>
                  <a:gd name="T18" fmla="*/ 41 w 41"/>
                  <a:gd name="T19" fmla="*/ 19 h 19"/>
                  <a:gd name="T20" fmla="*/ 38 w 41"/>
                  <a:gd name="T21" fmla="*/ 19 h 19"/>
                  <a:gd name="T22" fmla="*/ 38 w 41"/>
                  <a:gd name="T23" fmla="*/ 3 h 19"/>
                  <a:gd name="T24" fmla="*/ 37 w 41"/>
                  <a:gd name="T25" fmla="*/ 3 h 19"/>
                  <a:gd name="T26" fmla="*/ 31 w 41"/>
                  <a:gd name="T27" fmla="*/ 19 h 19"/>
                  <a:gd name="T28" fmla="*/ 29 w 41"/>
                  <a:gd name="T29" fmla="*/ 19 h 19"/>
                  <a:gd name="T30" fmla="*/ 22 w 41"/>
                  <a:gd name="T31" fmla="*/ 3 h 19"/>
                  <a:gd name="T32" fmla="*/ 22 w 41"/>
                  <a:gd name="T33" fmla="*/ 3 h 19"/>
                  <a:gd name="T34" fmla="*/ 22 w 41"/>
                  <a:gd name="T35" fmla="*/ 19 h 19"/>
                  <a:gd name="T36" fmla="*/ 19 w 41"/>
                  <a:gd name="T37" fmla="*/ 19 h 19"/>
                  <a:gd name="T38" fmla="*/ 19 w 41"/>
                  <a:gd name="T39" fmla="*/ 0 h 19"/>
                  <a:gd name="T40" fmla="*/ 24 w 41"/>
                  <a:gd name="T41" fmla="*/ 0 h 19"/>
                  <a:gd name="T42" fmla="*/ 30 w 41"/>
                  <a:gd name="T43" fmla="*/ 15 h 19"/>
                  <a:gd name="T44" fmla="*/ 35 w 41"/>
                  <a:gd name="T45" fmla="*/ 0 h 19"/>
                  <a:gd name="T46" fmla="*/ 41 w 41"/>
                  <a:gd name="T47" fmla="*/ 0 h 19"/>
                  <a:gd name="T48" fmla="*/ 41 w 41"/>
                  <a:gd name="T4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9">
                    <a:moveTo>
                      <a:pt x="15" y="2"/>
                    </a:moveTo>
                    <a:lnTo>
                      <a:pt x="9" y="2"/>
                    </a:lnTo>
                    <a:lnTo>
                      <a:pt x="9" y="19"/>
                    </a:lnTo>
                    <a:lnTo>
                      <a:pt x="5" y="19"/>
                    </a:lnTo>
                    <a:lnTo>
                      <a:pt x="5" y="2"/>
                    </a:lnTo>
                    <a:lnTo>
                      <a:pt x="0" y="2"/>
                    </a:lnTo>
                    <a:lnTo>
                      <a:pt x="0" y="0"/>
                    </a:lnTo>
                    <a:lnTo>
                      <a:pt x="15" y="0"/>
                    </a:lnTo>
                    <a:lnTo>
                      <a:pt x="15" y="2"/>
                    </a:lnTo>
                    <a:close/>
                    <a:moveTo>
                      <a:pt x="41" y="19"/>
                    </a:moveTo>
                    <a:lnTo>
                      <a:pt x="38" y="19"/>
                    </a:lnTo>
                    <a:lnTo>
                      <a:pt x="38" y="3"/>
                    </a:lnTo>
                    <a:lnTo>
                      <a:pt x="37" y="3"/>
                    </a:lnTo>
                    <a:lnTo>
                      <a:pt x="31" y="19"/>
                    </a:lnTo>
                    <a:lnTo>
                      <a:pt x="29" y="19"/>
                    </a:lnTo>
                    <a:lnTo>
                      <a:pt x="22" y="3"/>
                    </a:lnTo>
                    <a:lnTo>
                      <a:pt x="22" y="3"/>
                    </a:lnTo>
                    <a:lnTo>
                      <a:pt x="22" y="19"/>
                    </a:lnTo>
                    <a:lnTo>
                      <a:pt x="19" y="19"/>
                    </a:lnTo>
                    <a:lnTo>
                      <a:pt x="19" y="0"/>
                    </a:lnTo>
                    <a:lnTo>
                      <a:pt x="24" y="0"/>
                    </a:lnTo>
                    <a:lnTo>
                      <a:pt x="30" y="15"/>
                    </a:lnTo>
                    <a:lnTo>
                      <a:pt x="35" y="0"/>
                    </a:lnTo>
                    <a:lnTo>
                      <a:pt x="41" y="0"/>
                    </a:lnTo>
                    <a:lnTo>
                      <a:pt x="4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grpSp>
        <p:grpSp>
          <p:nvGrpSpPr>
            <p:cNvPr id="35" name="Group 34"/>
            <p:cNvGrpSpPr/>
            <p:nvPr/>
          </p:nvGrpSpPr>
          <p:grpSpPr>
            <a:xfrm>
              <a:off x="1173163" y="4383088"/>
              <a:ext cx="1039813" cy="431800"/>
              <a:chOff x="1173163" y="4383088"/>
              <a:chExt cx="1039813" cy="431800"/>
            </a:xfrm>
            <a:solidFill>
              <a:schemeClr val="tx1"/>
            </a:solidFill>
          </p:grpSpPr>
          <p:sp>
            <p:nvSpPr>
              <p:cNvPr id="36" name="Freeform 15"/>
              <p:cNvSpPr>
                <a:spLocks noEditPoints="1"/>
              </p:cNvSpPr>
              <p:nvPr/>
            </p:nvSpPr>
            <p:spPr bwMode="auto">
              <a:xfrm>
                <a:off x="1184275" y="4383088"/>
                <a:ext cx="149225" cy="177800"/>
              </a:xfrm>
              <a:custGeom>
                <a:avLst/>
                <a:gdLst>
                  <a:gd name="T0" fmla="*/ 65 w 116"/>
                  <a:gd name="T1" fmla="*/ 0 h 138"/>
                  <a:gd name="T2" fmla="*/ 83 w 116"/>
                  <a:gd name="T3" fmla="*/ 2 h 138"/>
                  <a:gd name="T4" fmla="*/ 97 w 116"/>
                  <a:gd name="T5" fmla="*/ 7 h 138"/>
                  <a:gd name="T6" fmla="*/ 106 w 116"/>
                  <a:gd name="T7" fmla="*/ 18 h 138"/>
                  <a:gd name="T8" fmla="*/ 109 w 116"/>
                  <a:gd name="T9" fmla="*/ 34 h 138"/>
                  <a:gd name="T10" fmla="*/ 104 w 116"/>
                  <a:gd name="T11" fmla="*/ 52 h 138"/>
                  <a:gd name="T12" fmla="*/ 90 w 116"/>
                  <a:gd name="T13" fmla="*/ 63 h 138"/>
                  <a:gd name="T14" fmla="*/ 109 w 116"/>
                  <a:gd name="T15" fmla="*/ 76 h 138"/>
                  <a:gd name="T16" fmla="*/ 116 w 116"/>
                  <a:gd name="T17" fmla="*/ 98 h 138"/>
                  <a:gd name="T18" fmla="*/ 112 w 116"/>
                  <a:gd name="T19" fmla="*/ 116 h 138"/>
                  <a:gd name="T20" fmla="*/ 101 w 116"/>
                  <a:gd name="T21" fmla="*/ 129 h 138"/>
                  <a:gd name="T22" fmla="*/ 85 w 116"/>
                  <a:gd name="T23" fmla="*/ 136 h 138"/>
                  <a:gd name="T24" fmla="*/ 67 w 116"/>
                  <a:gd name="T25" fmla="*/ 138 h 138"/>
                  <a:gd name="T26" fmla="*/ 0 w 116"/>
                  <a:gd name="T27" fmla="*/ 138 h 138"/>
                  <a:gd name="T28" fmla="*/ 0 w 116"/>
                  <a:gd name="T29" fmla="*/ 0 h 138"/>
                  <a:gd name="T30" fmla="*/ 65 w 116"/>
                  <a:gd name="T31" fmla="*/ 0 h 138"/>
                  <a:gd name="T32" fmla="*/ 61 w 116"/>
                  <a:gd name="T33" fmla="*/ 56 h 138"/>
                  <a:gd name="T34" fmla="*/ 74 w 116"/>
                  <a:gd name="T35" fmla="*/ 52 h 138"/>
                  <a:gd name="T36" fmla="*/ 80 w 116"/>
                  <a:gd name="T37" fmla="*/ 39 h 138"/>
                  <a:gd name="T38" fmla="*/ 78 w 116"/>
                  <a:gd name="T39" fmla="*/ 32 h 138"/>
                  <a:gd name="T40" fmla="*/ 73 w 116"/>
                  <a:gd name="T41" fmla="*/ 27 h 138"/>
                  <a:gd name="T42" fmla="*/ 67 w 116"/>
                  <a:gd name="T43" fmla="*/ 24 h 138"/>
                  <a:gd name="T44" fmla="*/ 59 w 116"/>
                  <a:gd name="T45" fmla="*/ 24 h 138"/>
                  <a:gd name="T46" fmla="*/ 30 w 116"/>
                  <a:gd name="T47" fmla="*/ 24 h 138"/>
                  <a:gd name="T48" fmla="*/ 30 w 116"/>
                  <a:gd name="T49" fmla="*/ 56 h 138"/>
                  <a:gd name="T50" fmla="*/ 61 w 116"/>
                  <a:gd name="T51" fmla="*/ 56 h 138"/>
                  <a:gd name="T52" fmla="*/ 63 w 116"/>
                  <a:gd name="T53" fmla="*/ 115 h 138"/>
                  <a:gd name="T54" fmla="*/ 71 w 116"/>
                  <a:gd name="T55" fmla="*/ 114 h 138"/>
                  <a:gd name="T56" fmla="*/ 78 w 116"/>
                  <a:gd name="T57" fmla="*/ 111 h 138"/>
                  <a:gd name="T58" fmla="*/ 83 w 116"/>
                  <a:gd name="T59" fmla="*/ 105 h 138"/>
                  <a:gd name="T60" fmla="*/ 85 w 116"/>
                  <a:gd name="T61" fmla="*/ 96 h 138"/>
                  <a:gd name="T62" fmla="*/ 79 w 116"/>
                  <a:gd name="T63" fmla="*/ 81 h 138"/>
                  <a:gd name="T64" fmla="*/ 63 w 116"/>
                  <a:gd name="T65" fmla="*/ 77 h 138"/>
                  <a:gd name="T66" fmla="*/ 30 w 116"/>
                  <a:gd name="T67" fmla="*/ 77 h 138"/>
                  <a:gd name="T68" fmla="*/ 30 w 116"/>
                  <a:gd name="T69" fmla="*/ 115 h 138"/>
                  <a:gd name="T70" fmla="*/ 63 w 116"/>
                  <a:gd name="T71" fmla="*/ 1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38">
                    <a:moveTo>
                      <a:pt x="65" y="0"/>
                    </a:moveTo>
                    <a:cubicBezTo>
                      <a:pt x="72" y="0"/>
                      <a:pt x="78" y="1"/>
                      <a:pt x="83" y="2"/>
                    </a:cubicBezTo>
                    <a:cubicBezTo>
                      <a:pt x="88" y="3"/>
                      <a:pt x="93" y="5"/>
                      <a:pt x="97" y="7"/>
                    </a:cubicBezTo>
                    <a:cubicBezTo>
                      <a:pt x="101" y="10"/>
                      <a:pt x="104" y="14"/>
                      <a:pt x="106" y="18"/>
                    </a:cubicBezTo>
                    <a:cubicBezTo>
                      <a:pt x="108" y="22"/>
                      <a:pt x="109" y="28"/>
                      <a:pt x="109" y="34"/>
                    </a:cubicBezTo>
                    <a:cubicBezTo>
                      <a:pt x="109" y="41"/>
                      <a:pt x="107" y="47"/>
                      <a:pt x="104" y="52"/>
                    </a:cubicBezTo>
                    <a:cubicBezTo>
                      <a:pt x="101" y="56"/>
                      <a:pt x="96" y="60"/>
                      <a:pt x="90" y="63"/>
                    </a:cubicBezTo>
                    <a:cubicBezTo>
                      <a:pt x="99" y="66"/>
                      <a:pt x="105" y="70"/>
                      <a:pt x="109" y="76"/>
                    </a:cubicBezTo>
                    <a:cubicBezTo>
                      <a:pt x="114" y="82"/>
                      <a:pt x="116" y="89"/>
                      <a:pt x="116" y="98"/>
                    </a:cubicBezTo>
                    <a:cubicBezTo>
                      <a:pt x="116" y="105"/>
                      <a:pt x="114" y="111"/>
                      <a:pt x="112" y="116"/>
                    </a:cubicBezTo>
                    <a:cubicBezTo>
                      <a:pt x="109" y="121"/>
                      <a:pt x="105" y="126"/>
                      <a:pt x="101" y="129"/>
                    </a:cubicBezTo>
                    <a:cubicBezTo>
                      <a:pt x="96" y="132"/>
                      <a:pt x="91" y="134"/>
                      <a:pt x="85" y="136"/>
                    </a:cubicBezTo>
                    <a:cubicBezTo>
                      <a:pt x="79" y="137"/>
                      <a:pt x="73" y="138"/>
                      <a:pt x="67" y="138"/>
                    </a:cubicBezTo>
                    <a:cubicBezTo>
                      <a:pt x="0" y="138"/>
                      <a:pt x="0" y="138"/>
                      <a:pt x="0" y="138"/>
                    </a:cubicBezTo>
                    <a:cubicBezTo>
                      <a:pt x="0" y="0"/>
                      <a:pt x="0" y="0"/>
                      <a:pt x="0" y="0"/>
                    </a:cubicBezTo>
                    <a:lnTo>
                      <a:pt x="65" y="0"/>
                    </a:lnTo>
                    <a:close/>
                    <a:moveTo>
                      <a:pt x="61" y="56"/>
                    </a:moveTo>
                    <a:cubicBezTo>
                      <a:pt x="66" y="56"/>
                      <a:pt x="71" y="55"/>
                      <a:pt x="74" y="52"/>
                    </a:cubicBezTo>
                    <a:cubicBezTo>
                      <a:pt x="78" y="49"/>
                      <a:pt x="80" y="45"/>
                      <a:pt x="80" y="39"/>
                    </a:cubicBezTo>
                    <a:cubicBezTo>
                      <a:pt x="80" y="36"/>
                      <a:pt x="79" y="34"/>
                      <a:pt x="78" y="32"/>
                    </a:cubicBezTo>
                    <a:cubicBezTo>
                      <a:pt x="77" y="29"/>
                      <a:pt x="75" y="28"/>
                      <a:pt x="73" y="27"/>
                    </a:cubicBezTo>
                    <a:cubicBezTo>
                      <a:pt x="71" y="26"/>
                      <a:pt x="69" y="25"/>
                      <a:pt x="67" y="24"/>
                    </a:cubicBezTo>
                    <a:cubicBezTo>
                      <a:pt x="64" y="24"/>
                      <a:pt x="61" y="24"/>
                      <a:pt x="59" y="24"/>
                    </a:cubicBezTo>
                    <a:cubicBezTo>
                      <a:pt x="30" y="24"/>
                      <a:pt x="30" y="24"/>
                      <a:pt x="30" y="24"/>
                    </a:cubicBezTo>
                    <a:cubicBezTo>
                      <a:pt x="30" y="56"/>
                      <a:pt x="30" y="56"/>
                      <a:pt x="30" y="56"/>
                    </a:cubicBezTo>
                    <a:lnTo>
                      <a:pt x="61" y="56"/>
                    </a:lnTo>
                    <a:close/>
                    <a:moveTo>
                      <a:pt x="63" y="115"/>
                    </a:moveTo>
                    <a:cubicBezTo>
                      <a:pt x="66" y="115"/>
                      <a:pt x="69" y="114"/>
                      <a:pt x="71" y="114"/>
                    </a:cubicBezTo>
                    <a:cubicBezTo>
                      <a:pt x="74" y="113"/>
                      <a:pt x="76" y="112"/>
                      <a:pt x="78" y="111"/>
                    </a:cubicBezTo>
                    <a:cubicBezTo>
                      <a:pt x="81" y="109"/>
                      <a:pt x="82" y="108"/>
                      <a:pt x="83" y="105"/>
                    </a:cubicBezTo>
                    <a:cubicBezTo>
                      <a:pt x="85" y="103"/>
                      <a:pt x="85" y="100"/>
                      <a:pt x="85" y="96"/>
                    </a:cubicBezTo>
                    <a:cubicBezTo>
                      <a:pt x="85" y="89"/>
                      <a:pt x="83" y="84"/>
                      <a:pt x="79" y="81"/>
                    </a:cubicBezTo>
                    <a:cubicBezTo>
                      <a:pt x="75" y="78"/>
                      <a:pt x="70" y="77"/>
                      <a:pt x="63" y="77"/>
                    </a:cubicBezTo>
                    <a:cubicBezTo>
                      <a:pt x="30" y="77"/>
                      <a:pt x="30" y="77"/>
                      <a:pt x="30" y="77"/>
                    </a:cubicBezTo>
                    <a:cubicBezTo>
                      <a:pt x="30" y="115"/>
                      <a:pt x="30" y="115"/>
                      <a:pt x="30" y="115"/>
                    </a:cubicBezTo>
                    <a:lnTo>
                      <a:pt x="63"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37" name="Freeform 16"/>
              <p:cNvSpPr>
                <a:spLocks/>
              </p:cNvSpPr>
              <p:nvPr/>
            </p:nvSpPr>
            <p:spPr bwMode="auto">
              <a:xfrm>
                <a:off x="1352550" y="4432301"/>
                <a:ext cx="120650" cy="131763"/>
              </a:xfrm>
              <a:custGeom>
                <a:avLst/>
                <a:gdLst>
                  <a:gd name="T0" fmla="*/ 68 w 94"/>
                  <a:gd name="T1" fmla="*/ 100 h 103"/>
                  <a:gd name="T2" fmla="*/ 68 w 94"/>
                  <a:gd name="T3" fmla="*/ 86 h 103"/>
                  <a:gd name="T4" fmla="*/ 67 w 94"/>
                  <a:gd name="T5" fmla="*/ 86 h 103"/>
                  <a:gd name="T6" fmla="*/ 53 w 94"/>
                  <a:gd name="T7" fmla="*/ 99 h 103"/>
                  <a:gd name="T8" fmla="*/ 36 w 94"/>
                  <a:gd name="T9" fmla="*/ 103 h 103"/>
                  <a:gd name="T10" fmla="*/ 18 w 94"/>
                  <a:gd name="T11" fmla="*/ 100 h 103"/>
                  <a:gd name="T12" fmla="*/ 7 w 94"/>
                  <a:gd name="T13" fmla="*/ 92 h 103"/>
                  <a:gd name="T14" fmla="*/ 1 w 94"/>
                  <a:gd name="T15" fmla="*/ 79 h 103"/>
                  <a:gd name="T16" fmla="*/ 0 w 94"/>
                  <a:gd name="T17" fmla="*/ 62 h 103"/>
                  <a:gd name="T18" fmla="*/ 0 w 94"/>
                  <a:gd name="T19" fmla="*/ 0 h 103"/>
                  <a:gd name="T20" fmla="*/ 27 w 94"/>
                  <a:gd name="T21" fmla="*/ 0 h 103"/>
                  <a:gd name="T22" fmla="*/ 27 w 94"/>
                  <a:gd name="T23" fmla="*/ 57 h 103"/>
                  <a:gd name="T24" fmla="*/ 31 w 94"/>
                  <a:gd name="T25" fmla="*/ 75 h 103"/>
                  <a:gd name="T26" fmla="*/ 45 w 94"/>
                  <a:gd name="T27" fmla="*/ 81 h 103"/>
                  <a:gd name="T28" fmla="*/ 61 w 94"/>
                  <a:gd name="T29" fmla="*/ 75 h 103"/>
                  <a:gd name="T30" fmla="*/ 66 w 94"/>
                  <a:gd name="T31" fmla="*/ 53 h 103"/>
                  <a:gd name="T32" fmla="*/ 66 w 94"/>
                  <a:gd name="T33" fmla="*/ 0 h 103"/>
                  <a:gd name="T34" fmla="*/ 94 w 94"/>
                  <a:gd name="T35" fmla="*/ 0 h 103"/>
                  <a:gd name="T36" fmla="*/ 94 w 94"/>
                  <a:gd name="T37" fmla="*/ 100 h 103"/>
                  <a:gd name="T38" fmla="*/ 68 w 94"/>
                  <a:gd name="T39"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68" y="100"/>
                    </a:moveTo>
                    <a:cubicBezTo>
                      <a:pt x="68" y="86"/>
                      <a:pt x="68" y="86"/>
                      <a:pt x="68" y="86"/>
                    </a:cubicBezTo>
                    <a:cubicBezTo>
                      <a:pt x="67" y="86"/>
                      <a:pt x="67" y="86"/>
                      <a:pt x="67" y="86"/>
                    </a:cubicBezTo>
                    <a:cubicBezTo>
                      <a:pt x="64" y="92"/>
                      <a:pt x="59" y="96"/>
                      <a:pt x="53" y="99"/>
                    </a:cubicBezTo>
                    <a:cubicBezTo>
                      <a:pt x="48" y="101"/>
                      <a:pt x="42" y="103"/>
                      <a:pt x="36" y="103"/>
                    </a:cubicBezTo>
                    <a:cubicBezTo>
                      <a:pt x="29" y="103"/>
                      <a:pt x="23" y="102"/>
                      <a:pt x="18" y="100"/>
                    </a:cubicBezTo>
                    <a:cubicBezTo>
                      <a:pt x="14" y="98"/>
                      <a:pt x="10" y="95"/>
                      <a:pt x="7" y="92"/>
                    </a:cubicBezTo>
                    <a:cubicBezTo>
                      <a:pt x="4" y="88"/>
                      <a:pt x="3" y="84"/>
                      <a:pt x="1" y="79"/>
                    </a:cubicBezTo>
                    <a:cubicBezTo>
                      <a:pt x="0" y="74"/>
                      <a:pt x="0" y="68"/>
                      <a:pt x="0" y="62"/>
                    </a:cubicBezTo>
                    <a:cubicBezTo>
                      <a:pt x="0" y="0"/>
                      <a:pt x="0" y="0"/>
                      <a:pt x="0" y="0"/>
                    </a:cubicBezTo>
                    <a:cubicBezTo>
                      <a:pt x="27" y="0"/>
                      <a:pt x="27" y="0"/>
                      <a:pt x="27" y="0"/>
                    </a:cubicBezTo>
                    <a:cubicBezTo>
                      <a:pt x="27" y="57"/>
                      <a:pt x="27" y="57"/>
                      <a:pt x="27" y="57"/>
                    </a:cubicBezTo>
                    <a:cubicBezTo>
                      <a:pt x="27" y="65"/>
                      <a:pt x="29" y="71"/>
                      <a:pt x="31" y="75"/>
                    </a:cubicBezTo>
                    <a:cubicBezTo>
                      <a:pt x="34" y="79"/>
                      <a:pt x="38" y="81"/>
                      <a:pt x="45" y="81"/>
                    </a:cubicBezTo>
                    <a:cubicBezTo>
                      <a:pt x="52" y="81"/>
                      <a:pt x="58" y="79"/>
                      <a:pt x="61" y="75"/>
                    </a:cubicBezTo>
                    <a:cubicBezTo>
                      <a:pt x="65" y="70"/>
                      <a:pt x="66" y="63"/>
                      <a:pt x="66" y="53"/>
                    </a:cubicBezTo>
                    <a:cubicBezTo>
                      <a:pt x="66" y="0"/>
                      <a:pt x="66" y="0"/>
                      <a:pt x="66" y="0"/>
                    </a:cubicBezTo>
                    <a:cubicBezTo>
                      <a:pt x="94" y="0"/>
                      <a:pt x="94" y="0"/>
                      <a:pt x="94" y="0"/>
                    </a:cubicBezTo>
                    <a:cubicBezTo>
                      <a:pt x="94" y="100"/>
                      <a:pt x="94" y="100"/>
                      <a:pt x="94" y="100"/>
                    </a:cubicBezTo>
                    <a:lnTo>
                      <a:pt x="6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38" name="Freeform 17"/>
              <p:cNvSpPr>
                <a:spLocks/>
              </p:cNvSpPr>
              <p:nvPr/>
            </p:nvSpPr>
            <p:spPr bwMode="auto">
              <a:xfrm>
                <a:off x="1489075" y="4427538"/>
                <a:ext cx="120650" cy="136525"/>
              </a:xfrm>
              <a:custGeom>
                <a:avLst/>
                <a:gdLst>
                  <a:gd name="T0" fmla="*/ 28 w 93"/>
                  <a:gd name="T1" fmla="*/ 78 h 106"/>
                  <a:gd name="T2" fmla="*/ 33 w 93"/>
                  <a:gd name="T3" fmla="*/ 84 h 106"/>
                  <a:gd name="T4" fmla="*/ 40 w 93"/>
                  <a:gd name="T5" fmla="*/ 87 h 106"/>
                  <a:gd name="T6" fmla="*/ 47 w 93"/>
                  <a:gd name="T7" fmla="*/ 88 h 106"/>
                  <a:gd name="T8" fmla="*/ 54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3 w 93"/>
                  <a:gd name="T21" fmla="*/ 56 h 106"/>
                  <a:gd name="T22" fmla="*/ 12 w 93"/>
                  <a:gd name="T23" fmla="*/ 51 h 106"/>
                  <a:gd name="T24" fmla="*/ 5 w 93"/>
                  <a:gd name="T25" fmla="*/ 44 h 106"/>
                  <a:gd name="T26" fmla="*/ 3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6 w 93"/>
                  <a:gd name="T39" fmla="*/ 7 h 106"/>
                  <a:gd name="T40" fmla="*/ 86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2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9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40" y="87"/>
                    </a:cubicBezTo>
                    <a:cubicBezTo>
                      <a:pt x="42" y="87"/>
                      <a:pt x="45" y="88"/>
                      <a:pt x="47" y="88"/>
                    </a:cubicBezTo>
                    <a:cubicBezTo>
                      <a:pt x="49" y="88"/>
                      <a:pt x="51" y="87"/>
                      <a:pt x="54" y="87"/>
                    </a:cubicBezTo>
                    <a:cubicBezTo>
                      <a:pt x="56" y="86"/>
                      <a:pt x="58" y="86"/>
                      <a:pt x="59" y="85"/>
                    </a:cubicBezTo>
                    <a:cubicBezTo>
                      <a:pt x="61" y="84"/>
                      <a:pt x="63" y="82"/>
                      <a:pt x="64" y="81"/>
                    </a:cubicBezTo>
                    <a:cubicBezTo>
                      <a:pt x="65" y="79"/>
                      <a:pt x="65" y="77"/>
                      <a:pt x="65" y="75"/>
                    </a:cubicBezTo>
                    <a:cubicBezTo>
                      <a:pt x="65" y="71"/>
                      <a:pt x="63" y="68"/>
                      <a:pt x="57" y="65"/>
                    </a:cubicBezTo>
                    <a:cubicBezTo>
                      <a:pt x="52" y="63"/>
                      <a:pt x="44" y="61"/>
                      <a:pt x="34" y="59"/>
                    </a:cubicBezTo>
                    <a:cubicBezTo>
                      <a:pt x="30" y="58"/>
                      <a:pt x="26" y="57"/>
                      <a:pt x="23" y="56"/>
                    </a:cubicBezTo>
                    <a:cubicBezTo>
                      <a:pt x="19" y="55"/>
                      <a:pt x="15" y="53"/>
                      <a:pt x="12" y="51"/>
                    </a:cubicBezTo>
                    <a:cubicBezTo>
                      <a:pt x="9" y="49"/>
                      <a:pt x="7" y="47"/>
                      <a:pt x="5" y="44"/>
                    </a:cubicBezTo>
                    <a:cubicBezTo>
                      <a:pt x="3" y="41"/>
                      <a:pt x="3" y="37"/>
                      <a:pt x="3" y="33"/>
                    </a:cubicBezTo>
                    <a:cubicBezTo>
                      <a:pt x="3" y="26"/>
                      <a:pt x="4" y="21"/>
                      <a:pt x="6" y="17"/>
                    </a:cubicBezTo>
                    <a:cubicBezTo>
                      <a:pt x="9" y="13"/>
                      <a:pt x="12" y="9"/>
                      <a:pt x="16" y="7"/>
                    </a:cubicBezTo>
                    <a:cubicBezTo>
                      <a:pt x="20" y="4"/>
                      <a:pt x="25" y="3"/>
                      <a:pt x="30" y="2"/>
                    </a:cubicBezTo>
                    <a:cubicBezTo>
                      <a:pt x="35" y="1"/>
                      <a:pt x="41" y="0"/>
                      <a:pt x="46" y="0"/>
                    </a:cubicBezTo>
                    <a:cubicBezTo>
                      <a:pt x="52" y="0"/>
                      <a:pt x="57" y="1"/>
                      <a:pt x="62" y="2"/>
                    </a:cubicBezTo>
                    <a:cubicBezTo>
                      <a:pt x="67" y="3"/>
                      <a:pt x="72" y="5"/>
                      <a:pt x="76" y="7"/>
                    </a:cubicBezTo>
                    <a:cubicBezTo>
                      <a:pt x="80" y="10"/>
                      <a:pt x="83" y="13"/>
                      <a:pt x="86" y="17"/>
                    </a:cubicBezTo>
                    <a:cubicBezTo>
                      <a:pt x="88" y="21"/>
                      <a:pt x="90" y="26"/>
                      <a:pt x="90" y="32"/>
                    </a:cubicBezTo>
                    <a:cubicBezTo>
                      <a:pt x="64" y="32"/>
                      <a:pt x="64" y="32"/>
                      <a:pt x="64" y="32"/>
                    </a:cubicBezTo>
                    <a:cubicBezTo>
                      <a:pt x="64" y="27"/>
                      <a:pt x="62" y="23"/>
                      <a:pt x="58" y="22"/>
                    </a:cubicBezTo>
                    <a:cubicBezTo>
                      <a:pt x="54" y="20"/>
                      <a:pt x="50" y="19"/>
                      <a:pt x="45" y="19"/>
                    </a:cubicBezTo>
                    <a:cubicBezTo>
                      <a:pt x="44" y="19"/>
                      <a:pt x="42" y="19"/>
                      <a:pt x="40" y="19"/>
                    </a:cubicBezTo>
                    <a:cubicBezTo>
                      <a:pt x="38" y="19"/>
                      <a:pt x="37" y="20"/>
                      <a:pt x="35" y="20"/>
                    </a:cubicBezTo>
                    <a:cubicBezTo>
                      <a:pt x="34" y="21"/>
                      <a:pt x="33" y="22"/>
                      <a:pt x="32" y="23"/>
                    </a:cubicBezTo>
                    <a:cubicBezTo>
                      <a:pt x="31" y="24"/>
                      <a:pt x="30" y="26"/>
                      <a:pt x="30" y="28"/>
                    </a:cubicBezTo>
                    <a:cubicBezTo>
                      <a:pt x="30" y="31"/>
                      <a:pt x="31" y="33"/>
                      <a:pt x="33" y="34"/>
                    </a:cubicBezTo>
                    <a:cubicBezTo>
                      <a:pt x="35" y="36"/>
                      <a:pt x="37" y="37"/>
                      <a:pt x="40" y="38"/>
                    </a:cubicBezTo>
                    <a:cubicBezTo>
                      <a:pt x="43" y="39"/>
                      <a:pt x="46" y="40"/>
                      <a:pt x="50" y="40"/>
                    </a:cubicBezTo>
                    <a:cubicBezTo>
                      <a:pt x="54" y="41"/>
                      <a:pt x="57" y="42"/>
                      <a:pt x="61" y="43"/>
                    </a:cubicBezTo>
                    <a:cubicBezTo>
                      <a:pt x="65" y="44"/>
                      <a:pt x="69" y="45"/>
                      <a:pt x="73" y="46"/>
                    </a:cubicBezTo>
                    <a:cubicBezTo>
                      <a:pt x="77" y="48"/>
                      <a:pt x="80" y="49"/>
                      <a:pt x="83" y="51"/>
                    </a:cubicBezTo>
                    <a:cubicBezTo>
                      <a:pt x="86" y="54"/>
                      <a:pt x="88" y="56"/>
                      <a:pt x="90" y="59"/>
                    </a:cubicBezTo>
                    <a:cubicBezTo>
                      <a:pt x="92" y="63"/>
                      <a:pt x="93" y="66"/>
                      <a:pt x="93" y="71"/>
                    </a:cubicBezTo>
                    <a:cubicBezTo>
                      <a:pt x="93" y="78"/>
                      <a:pt x="92" y="83"/>
                      <a:pt x="89" y="88"/>
                    </a:cubicBezTo>
                    <a:cubicBezTo>
                      <a:pt x="86" y="92"/>
                      <a:pt x="83" y="96"/>
                      <a:pt x="79" y="98"/>
                    </a:cubicBezTo>
                    <a:cubicBezTo>
                      <a:pt x="74" y="101"/>
                      <a:pt x="69" y="103"/>
                      <a:pt x="64" y="104"/>
                    </a:cubicBezTo>
                    <a:cubicBezTo>
                      <a:pt x="59" y="105"/>
                      <a:pt x="53" y="106"/>
                      <a:pt x="47" y="106"/>
                    </a:cubicBezTo>
                    <a:cubicBezTo>
                      <a:pt x="41" y="106"/>
                      <a:pt x="36" y="105"/>
                      <a:pt x="30" y="104"/>
                    </a:cubicBezTo>
                    <a:cubicBezTo>
                      <a:pt x="25" y="103"/>
                      <a:pt x="20" y="101"/>
                      <a:pt x="15" y="98"/>
                    </a:cubicBezTo>
                    <a:cubicBezTo>
                      <a:pt x="11" y="95"/>
                      <a:pt x="8" y="92"/>
                      <a:pt x="5" y="87"/>
                    </a:cubicBezTo>
                    <a:cubicBezTo>
                      <a:pt x="2" y="83"/>
                      <a:pt x="0" y="77"/>
                      <a:pt x="0" y="71"/>
                    </a:cubicBezTo>
                    <a:cubicBezTo>
                      <a:pt x="26" y="71"/>
                      <a:pt x="26" y="71"/>
                      <a:pt x="26" y="71"/>
                    </a:cubicBezTo>
                    <a:cubicBezTo>
                      <a:pt x="26" y="74"/>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39" name="Freeform 18"/>
              <p:cNvSpPr>
                <a:spLocks noEditPoints="1"/>
              </p:cNvSpPr>
              <p:nvPr/>
            </p:nvSpPr>
            <p:spPr bwMode="auto">
              <a:xfrm>
                <a:off x="1627188" y="4383088"/>
                <a:ext cx="36513" cy="177800"/>
              </a:xfrm>
              <a:custGeom>
                <a:avLst/>
                <a:gdLst>
                  <a:gd name="T0" fmla="*/ 0 w 23"/>
                  <a:gd name="T1" fmla="*/ 18 h 112"/>
                  <a:gd name="T2" fmla="*/ 0 w 23"/>
                  <a:gd name="T3" fmla="*/ 0 h 112"/>
                  <a:gd name="T4" fmla="*/ 23 w 23"/>
                  <a:gd name="T5" fmla="*/ 0 h 112"/>
                  <a:gd name="T6" fmla="*/ 23 w 23"/>
                  <a:gd name="T7" fmla="*/ 18 h 112"/>
                  <a:gd name="T8" fmla="*/ 0 w 23"/>
                  <a:gd name="T9" fmla="*/ 18 h 112"/>
                  <a:gd name="T10" fmla="*/ 23 w 23"/>
                  <a:gd name="T11" fmla="*/ 31 h 112"/>
                  <a:gd name="T12" fmla="*/ 23 w 23"/>
                  <a:gd name="T13" fmla="*/ 112 h 112"/>
                  <a:gd name="T14" fmla="*/ 0 w 23"/>
                  <a:gd name="T15" fmla="*/ 112 h 112"/>
                  <a:gd name="T16" fmla="*/ 0 w 23"/>
                  <a:gd name="T17" fmla="*/ 31 h 112"/>
                  <a:gd name="T18" fmla="*/ 23 w 23"/>
                  <a:gd name="T19" fmla="*/ 3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12">
                    <a:moveTo>
                      <a:pt x="0" y="18"/>
                    </a:moveTo>
                    <a:lnTo>
                      <a:pt x="0" y="0"/>
                    </a:lnTo>
                    <a:lnTo>
                      <a:pt x="23" y="0"/>
                    </a:lnTo>
                    <a:lnTo>
                      <a:pt x="23" y="18"/>
                    </a:lnTo>
                    <a:lnTo>
                      <a:pt x="0" y="18"/>
                    </a:lnTo>
                    <a:close/>
                    <a:moveTo>
                      <a:pt x="23" y="31"/>
                    </a:moveTo>
                    <a:lnTo>
                      <a:pt x="23" y="112"/>
                    </a:lnTo>
                    <a:lnTo>
                      <a:pt x="0" y="112"/>
                    </a:lnTo>
                    <a:lnTo>
                      <a:pt x="0" y="31"/>
                    </a:lnTo>
                    <a:lnTo>
                      <a:pt x="2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0" name="Freeform 19"/>
              <p:cNvSpPr>
                <a:spLocks/>
              </p:cNvSpPr>
              <p:nvPr/>
            </p:nvSpPr>
            <p:spPr bwMode="auto">
              <a:xfrm>
                <a:off x="1685925" y="4427538"/>
                <a:ext cx="122238" cy="133350"/>
              </a:xfrm>
              <a:custGeom>
                <a:avLst/>
                <a:gdLst>
                  <a:gd name="T0" fmla="*/ 26 w 94"/>
                  <a:gd name="T1" fmla="*/ 3 h 103"/>
                  <a:gd name="T2" fmla="*/ 26 w 94"/>
                  <a:gd name="T3" fmla="*/ 17 h 103"/>
                  <a:gd name="T4" fmla="*/ 27 w 94"/>
                  <a:gd name="T5" fmla="*/ 17 h 103"/>
                  <a:gd name="T6" fmla="*/ 40 w 94"/>
                  <a:gd name="T7" fmla="*/ 4 h 103"/>
                  <a:gd name="T8" fmla="*/ 57 w 94"/>
                  <a:gd name="T9" fmla="*/ 0 h 103"/>
                  <a:gd name="T10" fmla="*/ 76 w 94"/>
                  <a:gd name="T11" fmla="*/ 3 h 103"/>
                  <a:gd name="T12" fmla="*/ 87 w 94"/>
                  <a:gd name="T13" fmla="*/ 12 h 103"/>
                  <a:gd name="T14" fmla="*/ 92 w 94"/>
                  <a:gd name="T15" fmla="*/ 25 h 103"/>
                  <a:gd name="T16" fmla="*/ 94 w 94"/>
                  <a:gd name="T17" fmla="*/ 42 h 103"/>
                  <a:gd name="T18" fmla="*/ 94 w 94"/>
                  <a:gd name="T19" fmla="*/ 103 h 103"/>
                  <a:gd name="T20" fmla="*/ 67 w 94"/>
                  <a:gd name="T21" fmla="*/ 103 h 103"/>
                  <a:gd name="T22" fmla="*/ 67 w 94"/>
                  <a:gd name="T23" fmla="*/ 47 h 103"/>
                  <a:gd name="T24" fmla="*/ 63 w 94"/>
                  <a:gd name="T25" fmla="*/ 28 h 103"/>
                  <a:gd name="T26" fmla="*/ 49 w 94"/>
                  <a:gd name="T27" fmla="*/ 22 h 103"/>
                  <a:gd name="T28" fmla="*/ 33 w 94"/>
                  <a:gd name="T29" fmla="*/ 29 h 103"/>
                  <a:gd name="T30" fmla="*/ 28 w 94"/>
                  <a:gd name="T31" fmla="*/ 51 h 103"/>
                  <a:gd name="T32" fmla="*/ 28 w 94"/>
                  <a:gd name="T33" fmla="*/ 103 h 103"/>
                  <a:gd name="T34" fmla="*/ 0 w 94"/>
                  <a:gd name="T35" fmla="*/ 103 h 103"/>
                  <a:gd name="T36" fmla="*/ 0 w 94"/>
                  <a:gd name="T37" fmla="*/ 3 h 103"/>
                  <a:gd name="T38" fmla="*/ 26 w 94"/>
                  <a:gd name="T3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26" y="3"/>
                    </a:moveTo>
                    <a:cubicBezTo>
                      <a:pt x="26" y="17"/>
                      <a:pt x="26" y="17"/>
                      <a:pt x="26" y="17"/>
                    </a:cubicBezTo>
                    <a:cubicBezTo>
                      <a:pt x="27" y="17"/>
                      <a:pt x="27" y="17"/>
                      <a:pt x="27" y="17"/>
                    </a:cubicBezTo>
                    <a:cubicBezTo>
                      <a:pt x="30" y="11"/>
                      <a:pt x="35" y="7"/>
                      <a:pt x="40" y="4"/>
                    </a:cubicBezTo>
                    <a:cubicBezTo>
                      <a:pt x="46" y="2"/>
                      <a:pt x="52" y="0"/>
                      <a:pt x="57" y="0"/>
                    </a:cubicBezTo>
                    <a:cubicBezTo>
                      <a:pt x="65" y="0"/>
                      <a:pt x="71" y="1"/>
                      <a:pt x="76" y="3"/>
                    </a:cubicBezTo>
                    <a:cubicBezTo>
                      <a:pt x="80" y="5"/>
                      <a:pt x="84" y="8"/>
                      <a:pt x="87" y="12"/>
                    </a:cubicBezTo>
                    <a:cubicBezTo>
                      <a:pt x="89" y="15"/>
                      <a:pt x="91" y="20"/>
                      <a:pt x="92" y="25"/>
                    </a:cubicBezTo>
                    <a:cubicBezTo>
                      <a:pt x="94" y="30"/>
                      <a:pt x="94" y="35"/>
                      <a:pt x="94" y="42"/>
                    </a:cubicBezTo>
                    <a:cubicBezTo>
                      <a:pt x="94" y="103"/>
                      <a:pt x="94" y="103"/>
                      <a:pt x="94" y="103"/>
                    </a:cubicBezTo>
                    <a:cubicBezTo>
                      <a:pt x="67" y="103"/>
                      <a:pt x="67" y="103"/>
                      <a:pt x="67" y="103"/>
                    </a:cubicBezTo>
                    <a:cubicBezTo>
                      <a:pt x="67" y="47"/>
                      <a:pt x="67" y="47"/>
                      <a:pt x="67" y="47"/>
                    </a:cubicBezTo>
                    <a:cubicBezTo>
                      <a:pt x="67" y="38"/>
                      <a:pt x="65" y="32"/>
                      <a:pt x="63" y="28"/>
                    </a:cubicBezTo>
                    <a:cubicBezTo>
                      <a:pt x="60" y="24"/>
                      <a:pt x="56" y="22"/>
                      <a:pt x="49" y="22"/>
                    </a:cubicBezTo>
                    <a:cubicBezTo>
                      <a:pt x="41" y="22"/>
                      <a:pt x="36" y="24"/>
                      <a:pt x="33" y="29"/>
                    </a:cubicBezTo>
                    <a:cubicBezTo>
                      <a:pt x="29" y="33"/>
                      <a:pt x="28" y="41"/>
                      <a:pt x="28" y="51"/>
                    </a:cubicBezTo>
                    <a:cubicBezTo>
                      <a:pt x="28" y="103"/>
                      <a:pt x="28" y="103"/>
                      <a:pt x="28" y="103"/>
                    </a:cubicBezTo>
                    <a:cubicBezTo>
                      <a:pt x="0" y="103"/>
                      <a:pt x="0" y="103"/>
                      <a:pt x="0" y="103"/>
                    </a:cubicBezTo>
                    <a:cubicBezTo>
                      <a:pt x="0" y="3"/>
                      <a:pt x="0" y="3"/>
                      <a:pt x="0" y="3"/>
                    </a:cubicBez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1" name="Freeform 20"/>
              <p:cNvSpPr>
                <a:spLocks noEditPoints="1"/>
              </p:cNvSpPr>
              <p:nvPr/>
            </p:nvSpPr>
            <p:spPr bwMode="auto">
              <a:xfrm>
                <a:off x="1824038" y="4427538"/>
                <a:ext cx="128588" cy="136525"/>
              </a:xfrm>
              <a:custGeom>
                <a:avLst/>
                <a:gdLst>
                  <a:gd name="T0" fmla="*/ 34 w 100"/>
                  <a:gd name="T1" fmla="*/ 79 h 106"/>
                  <a:gd name="T2" fmla="*/ 52 w 100"/>
                  <a:gd name="T3" fmla="*/ 85 h 106"/>
                  <a:gd name="T4" fmla="*/ 67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4 w 100"/>
                  <a:gd name="T19" fmla="*/ 75 h 106"/>
                  <a:gd name="T20" fmla="*/ 0 w 100"/>
                  <a:gd name="T21" fmla="*/ 53 h 106"/>
                  <a:gd name="T22" fmla="*/ 4 w 100"/>
                  <a:gd name="T23" fmla="*/ 32 h 106"/>
                  <a:gd name="T24" fmla="*/ 14 w 100"/>
                  <a:gd name="T25" fmla="*/ 16 h 106"/>
                  <a:gd name="T26" fmla="*/ 31 w 100"/>
                  <a:gd name="T27" fmla="*/ 4 h 106"/>
                  <a:gd name="T28" fmla="*/ 51 w 100"/>
                  <a:gd name="T29" fmla="*/ 0 h 106"/>
                  <a:gd name="T30" fmla="*/ 74 w 100"/>
                  <a:gd name="T31" fmla="*/ 5 h 106"/>
                  <a:gd name="T32" fmla="*/ 89 w 100"/>
                  <a:gd name="T33" fmla="*/ 19 h 106"/>
                  <a:gd name="T34" fmla="*/ 98 w 100"/>
                  <a:gd name="T35" fmla="*/ 38 h 106"/>
                  <a:gd name="T36" fmla="*/ 100 w 100"/>
                  <a:gd name="T37" fmla="*/ 60 h 106"/>
                  <a:gd name="T38" fmla="*/ 28 w 100"/>
                  <a:gd name="T39" fmla="*/ 60 h 106"/>
                  <a:gd name="T40" fmla="*/ 34 w 100"/>
                  <a:gd name="T41" fmla="*/ 79 h 106"/>
                  <a:gd name="T42" fmla="*/ 66 w 100"/>
                  <a:gd name="T43" fmla="*/ 27 h 106"/>
                  <a:gd name="T44" fmla="*/ 51 w 100"/>
                  <a:gd name="T45" fmla="*/ 21 h 106"/>
                  <a:gd name="T46" fmla="*/ 40 w 100"/>
                  <a:gd name="T47" fmla="*/ 23 h 106"/>
                  <a:gd name="T48" fmla="*/ 33 w 100"/>
                  <a:gd name="T49" fmla="*/ 29 h 106"/>
                  <a:gd name="T50" fmla="*/ 29 w 100"/>
                  <a:gd name="T51" fmla="*/ 36 h 106"/>
                  <a:gd name="T52" fmla="*/ 28 w 100"/>
                  <a:gd name="T53" fmla="*/ 42 h 106"/>
                  <a:gd name="T54" fmla="*/ 72 w 100"/>
                  <a:gd name="T55" fmla="*/ 42 h 106"/>
                  <a:gd name="T56" fmla="*/ 66 w 100"/>
                  <a:gd name="T57" fmla="*/ 2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8" y="93"/>
                      <a:pt x="80" y="98"/>
                    </a:cubicBezTo>
                    <a:cubicBezTo>
                      <a:pt x="72" y="103"/>
                      <a:pt x="63" y="106"/>
                      <a:pt x="51" y="106"/>
                    </a:cubicBezTo>
                    <a:cubicBezTo>
                      <a:pt x="43" y="106"/>
                      <a:pt x="36" y="104"/>
                      <a:pt x="30" y="102"/>
                    </a:cubicBezTo>
                    <a:cubicBezTo>
                      <a:pt x="24" y="99"/>
                      <a:pt x="18" y="96"/>
                      <a:pt x="14" y="91"/>
                    </a:cubicBezTo>
                    <a:cubicBezTo>
                      <a:pt x="10" y="87"/>
                      <a:pt x="6" y="81"/>
                      <a:pt x="4" y="75"/>
                    </a:cubicBezTo>
                    <a:cubicBezTo>
                      <a:pt x="1" y="68"/>
                      <a:pt x="0" y="61"/>
                      <a:pt x="0" y="53"/>
                    </a:cubicBezTo>
                    <a:cubicBezTo>
                      <a:pt x="0" y="46"/>
                      <a:pt x="1" y="39"/>
                      <a:pt x="4" y="32"/>
                    </a:cubicBezTo>
                    <a:cubicBezTo>
                      <a:pt x="6" y="26"/>
                      <a:pt x="10" y="20"/>
                      <a:pt x="14" y="16"/>
                    </a:cubicBezTo>
                    <a:cubicBezTo>
                      <a:pt x="19" y="11"/>
                      <a:pt x="24" y="7"/>
                      <a:pt x="31" y="4"/>
                    </a:cubicBezTo>
                    <a:cubicBezTo>
                      <a:pt x="37" y="2"/>
                      <a:pt x="44" y="0"/>
                      <a:pt x="51" y="0"/>
                    </a:cubicBezTo>
                    <a:cubicBezTo>
                      <a:pt x="60" y="0"/>
                      <a:pt x="67" y="2"/>
                      <a:pt x="74" y="5"/>
                    </a:cubicBezTo>
                    <a:cubicBezTo>
                      <a:pt x="80" y="9"/>
                      <a:pt x="85" y="13"/>
                      <a:pt x="89" y="19"/>
                    </a:cubicBezTo>
                    <a:cubicBezTo>
                      <a:pt x="93" y="24"/>
                      <a:pt x="96" y="30"/>
                      <a:pt x="98" y="38"/>
                    </a:cubicBezTo>
                    <a:cubicBezTo>
                      <a:pt x="100" y="45"/>
                      <a:pt x="100" y="52"/>
                      <a:pt x="100" y="60"/>
                    </a:cubicBezTo>
                    <a:cubicBezTo>
                      <a:pt x="28" y="60"/>
                      <a:pt x="28" y="60"/>
                      <a:pt x="28" y="60"/>
                    </a:cubicBezTo>
                    <a:cubicBezTo>
                      <a:pt x="28" y="69"/>
                      <a:pt x="30" y="75"/>
                      <a:pt x="34" y="79"/>
                    </a:cubicBezTo>
                    <a:close/>
                    <a:moveTo>
                      <a:pt x="66" y="27"/>
                    </a:moveTo>
                    <a:cubicBezTo>
                      <a:pt x="62" y="23"/>
                      <a:pt x="57" y="21"/>
                      <a:pt x="51" y="21"/>
                    </a:cubicBezTo>
                    <a:cubicBezTo>
                      <a:pt x="46" y="21"/>
                      <a:pt x="43" y="22"/>
                      <a:pt x="40" y="23"/>
                    </a:cubicBezTo>
                    <a:cubicBezTo>
                      <a:pt x="37" y="25"/>
                      <a:pt x="34" y="27"/>
                      <a:pt x="33" y="29"/>
                    </a:cubicBezTo>
                    <a:cubicBezTo>
                      <a:pt x="31" y="31"/>
                      <a:pt x="30" y="33"/>
                      <a:pt x="29" y="36"/>
                    </a:cubicBezTo>
                    <a:cubicBezTo>
                      <a:pt x="28" y="38"/>
                      <a:pt x="28" y="40"/>
                      <a:pt x="28" y="42"/>
                    </a:cubicBezTo>
                    <a:cubicBezTo>
                      <a:pt x="72" y="42"/>
                      <a:pt x="72" y="42"/>
                      <a:pt x="72" y="42"/>
                    </a:cubicBezTo>
                    <a:cubicBezTo>
                      <a:pt x="71" y="35"/>
                      <a:pt x="69" y="30"/>
                      <a:pt x="6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2" name="Freeform 21"/>
              <p:cNvSpPr>
                <a:spLocks/>
              </p:cNvSpPr>
              <p:nvPr/>
            </p:nvSpPr>
            <p:spPr bwMode="auto">
              <a:xfrm>
                <a:off x="1963738" y="4427538"/>
                <a:ext cx="119063" cy="136525"/>
              </a:xfrm>
              <a:custGeom>
                <a:avLst/>
                <a:gdLst>
                  <a:gd name="T0" fmla="*/ 28 w 93"/>
                  <a:gd name="T1" fmla="*/ 78 h 106"/>
                  <a:gd name="T2" fmla="*/ 33 w 93"/>
                  <a:gd name="T3" fmla="*/ 84 h 106"/>
                  <a:gd name="T4" fmla="*/ 39 w 93"/>
                  <a:gd name="T5" fmla="*/ 87 h 106"/>
                  <a:gd name="T6" fmla="*/ 47 w 93"/>
                  <a:gd name="T7" fmla="*/ 88 h 106"/>
                  <a:gd name="T8" fmla="*/ 53 w 93"/>
                  <a:gd name="T9" fmla="*/ 87 h 106"/>
                  <a:gd name="T10" fmla="*/ 59 w 93"/>
                  <a:gd name="T11" fmla="*/ 85 h 106"/>
                  <a:gd name="T12" fmla="*/ 63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4 h 106"/>
                  <a:gd name="T26" fmla="*/ 2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2 w 93"/>
                  <a:gd name="T59" fmla="*/ 34 h 106"/>
                  <a:gd name="T60" fmla="*/ 40 w 93"/>
                  <a:gd name="T61" fmla="*/ 38 h 106"/>
                  <a:gd name="T62" fmla="*/ 49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4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39" y="87"/>
                    </a:cubicBezTo>
                    <a:cubicBezTo>
                      <a:pt x="42" y="87"/>
                      <a:pt x="44" y="88"/>
                      <a:pt x="47" y="88"/>
                    </a:cubicBezTo>
                    <a:cubicBezTo>
                      <a:pt x="49" y="88"/>
                      <a:pt x="51" y="87"/>
                      <a:pt x="53" y="87"/>
                    </a:cubicBezTo>
                    <a:cubicBezTo>
                      <a:pt x="55" y="86"/>
                      <a:pt x="57" y="86"/>
                      <a:pt x="59" y="85"/>
                    </a:cubicBezTo>
                    <a:cubicBezTo>
                      <a:pt x="61" y="84"/>
                      <a:pt x="62" y="82"/>
                      <a:pt x="63" y="81"/>
                    </a:cubicBezTo>
                    <a:cubicBezTo>
                      <a:pt x="65" y="79"/>
                      <a:pt x="65" y="77"/>
                      <a:pt x="65" y="75"/>
                    </a:cubicBezTo>
                    <a:cubicBezTo>
                      <a:pt x="65" y="71"/>
                      <a:pt x="62" y="68"/>
                      <a:pt x="57" y="65"/>
                    </a:cubicBezTo>
                    <a:cubicBezTo>
                      <a:pt x="51" y="63"/>
                      <a:pt x="44" y="61"/>
                      <a:pt x="34" y="59"/>
                    </a:cubicBezTo>
                    <a:cubicBezTo>
                      <a:pt x="30" y="58"/>
                      <a:pt x="26" y="57"/>
                      <a:pt x="22" y="56"/>
                    </a:cubicBezTo>
                    <a:cubicBezTo>
                      <a:pt x="18" y="55"/>
                      <a:pt x="15" y="53"/>
                      <a:pt x="12" y="51"/>
                    </a:cubicBezTo>
                    <a:cubicBezTo>
                      <a:pt x="9" y="49"/>
                      <a:pt x="7" y="47"/>
                      <a:pt x="5" y="44"/>
                    </a:cubicBezTo>
                    <a:cubicBezTo>
                      <a:pt x="3" y="41"/>
                      <a:pt x="2" y="37"/>
                      <a:pt x="2" y="33"/>
                    </a:cubicBezTo>
                    <a:cubicBezTo>
                      <a:pt x="2" y="26"/>
                      <a:pt x="3" y="21"/>
                      <a:pt x="6" y="17"/>
                    </a:cubicBezTo>
                    <a:cubicBezTo>
                      <a:pt x="9" y="13"/>
                      <a:pt x="12" y="9"/>
                      <a:pt x="16" y="7"/>
                    </a:cubicBezTo>
                    <a:cubicBezTo>
                      <a:pt x="20" y="4"/>
                      <a:pt x="25" y="3"/>
                      <a:pt x="30" y="2"/>
                    </a:cubicBezTo>
                    <a:cubicBezTo>
                      <a:pt x="35" y="1"/>
                      <a:pt x="40" y="0"/>
                      <a:pt x="46" y="0"/>
                    </a:cubicBezTo>
                    <a:cubicBezTo>
                      <a:pt x="51" y="0"/>
                      <a:pt x="56" y="1"/>
                      <a:pt x="62" y="2"/>
                    </a:cubicBezTo>
                    <a:cubicBezTo>
                      <a:pt x="67" y="3"/>
                      <a:pt x="71" y="5"/>
                      <a:pt x="75" y="7"/>
                    </a:cubicBezTo>
                    <a:cubicBezTo>
                      <a:pt x="79" y="10"/>
                      <a:pt x="83" y="13"/>
                      <a:pt x="85" y="17"/>
                    </a:cubicBezTo>
                    <a:cubicBezTo>
                      <a:pt x="88" y="21"/>
                      <a:pt x="89" y="26"/>
                      <a:pt x="90" y="32"/>
                    </a:cubicBezTo>
                    <a:cubicBezTo>
                      <a:pt x="64" y="32"/>
                      <a:pt x="64" y="32"/>
                      <a:pt x="64" y="32"/>
                    </a:cubicBezTo>
                    <a:cubicBezTo>
                      <a:pt x="63" y="27"/>
                      <a:pt x="61" y="23"/>
                      <a:pt x="58" y="22"/>
                    </a:cubicBezTo>
                    <a:cubicBezTo>
                      <a:pt x="54" y="20"/>
                      <a:pt x="50" y="19"/>
                      <a:pt x="45" y="19"/>
                    </a:cubicBezTo>
                    <a:cubicBezTo>
                      <a:pt x="43" y="19"/>
                      <a:pt x="42" y="19"/>
                      <a:pt x="40" y="19"/>
                    </a:cubicBezTo>
                    <a:cubicBezTo>
                      <a:pt x="38" y="19"/>
                      <a:pt x="37" y="20"/>
                      <a:pt x="35" y="20"/>
                    </a:cubicBezTo>
                    <a:cubicBezTo>
                      <a:pt x="34" y="21"/>
                      <a:pt x="32" y="22"/>
                      <a:pt x="31" y="23"/>
                    </a:cubicBezTo>
                    <a:cubicBezTo>
                      <a:pt x="30" y="24"/>
                      <a:pt x="30" y="26"/>
                      <a:pt x="30" y="28"/>
                    </a:cubicBezTo>
                    <a:cubicBezTo>
                      <a:pt x="30" y="31"/>
                      <a:pt x="31" y="33"/>
                      <a:pt x="32" y="34"/>
                    </a:cubicBezTo>
                    <a:cubicBezTo>
                      <a:pt x="34" y="36"/>
                      <a:pt x="37" y="37"/>
                      <a:pt x="40" y="38"/>
                    </a:cubicBezTo>
                    <a:cubicBezTo>
                      <a:pt x="42" y="39"/>
                      <a:pt x="46" y="40"/>
                      <a:pt x="49" y="40"/>
                    </a:cubicBezTo>
                    <a:cubicBezTo>
                      <a:pt x="53" y="41"/>
                      <a:pt x="57" y="42"/>
                      <a:pt x="61" y="43"/>
                    </a:cubicBezTo>
                    <a:cubicBezTo>
                      <a:pt x="65" y="44"/>
                      <a:pt x="69" y="45"/>
                      <a:pt x="73" y="46"/>
                    </a:cubicBezTo>
                    <a:cubicBezTo>
                      <a:pt x="76" y="48"/>
                      <a:pt x="80" y="49"/>
                      <a:pt x="83" y="51"/>
                    </a:cubicBezTo>
                    <a:cubicBezTo>
                      <a:pt x="86" y="54"/>
                      <a:pt x="88" y="56"/>
                      <a:pt x="90" y="59"/>
                    </a:cubicBezTo>
                    <a:cubicBezTo>
                      <a:pt x="92" y="63"/>
                      <a:pt x="93" y="66"/>
                      <a:pt x="93" y="71"/>
                    </a:cubicBezTo>
                    <a:cubicBezTo>
                      <a:pt x="93" y="78"/>
                      <a:pt x="91" y="83"/>
                      <a:pt x="89" y="88"/>
                    </a:cubicBezTo>
                    <a:cubicBezTo>
                      <a:pt x="86" y="92"/>
                      <a:pt x="83" y="96"/>
                      <a:pt x="78" y="98"/>
                    </a:cubicBezTo>
                    <a:cubicBezTo>
                      <a:pt x="74" y="101"/>
                      <a:pt x="69" y="103"/>
                      <a:pt x="64" y="104"/>
                    </a:cubicBezTo>
                    <a:cubicBezTo>
                      <a:pt x="58" y="105"/>
                      <a:pt x="53" y="106"/>
                      <a:pt x="47" y="106"/>
                    </a:cubicBezTo>
                    <a:cubicBezTo>
                      <a:pt x="41" y="106"/>
                      <a:pt x="35" y="105"/>
                      <a:pt x="30" y="104"/>
                    </a:cubicBezTo>
                    <a:cubicBezTo>
                      <a:pt x="24" y="103"/>
                      <a:pt x="19" y="101"/>
                      <a:pt x="15" y="98"/>
                    </a:cubicBezTo>
                    <a:cubicBezTo>
                      <a:pt x="11" y="95"/>
                      <a:pt x="7" y="92"/>
                      <a:pt x="4" y="87"/>
                    </a:cubicBezTo>
                    <a:cubicBezTo>
                      <a:pt x="2" y="83"/>
                      <a:pt x="0" y="77"/>
                      <a:pt x="0" y="71"/>
                    </a:cubicBezTo>
                    <a:cubicBezTo>
                      <a:pt x="26" y="71"/>
                      <a:pt x="26" y="71"/>
                      <a:pt x="26" y="71"/>
                    </a:cubicBezTo>
                    <a:cubicBezTo>
                      <a:pt x="26" y="74"/>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3" name="Freeform 22"/>
              <p:cNvSpPr>
                <a:spLocks/>
              </p:cNvSpPr>
              <p:nvPr/>
            </p:nvSpPr>
            <p:spPr bwMode="auto">
              <a:xfrm>
                <a:off x="2093913" y="4427538"/>
                <a:ext cx="119063" cy="136525"/>
              </a:xfrm>
              <a:custGeom>
                <a:avLst/>
                <a:gdLst>
                  <a:gd name="T0" fmla="*/ 27 w 92"/>
                  <a:gd name="T1" fmla="*/ 78 h 106"/>
                  <a:gd name="T2" fmla="*/ 32 w 92"/>
                  <a:gd name="T3" fmla="*/ 84 h 106"/>
                  <a:gd name="T4" fmla="*/ 39 w 92"/>
                  <a:gd name="T5" fmla="*/ 87 h 106"/>
                  <a:gd name="T6" fmla="*/ 47 w 92"/>
                  <a:gd name="T7" fmla="*/ 88 h 106"/>
                  <a:gd name="T8" fmla="*/ 53 w 92"/>
                  <a:gd name="T9" fmla="*/ 87 h 106"/>
                  <a:gd name="T10" fmla="*/ 59 w 92"/>
                  <a:gd name="T11" fmla="*/ 85 h 106"/>
                  <a:gd name="T12" fmla="*/ 63 w 92"/>
                  <a:gd name="T13" fmla="*/ 81 h 106"/>
                  <a:gd name="T14" fmla="*/ 65 w 92"/>
                  <a:gd name="T15" fmla="*/ 75 h 106"/>
                  <a:gd name="T16" fmla="*/ 57 w 92"/>
                  <a:gd name="T17" fmla="*/ 65 h 106"/>
                  <a:gd name="T18" fmla="*/ 34 w 92"/>
                  <a:gd name="T19" fmla="*/ 59 h 106"/>
                  <a:gd name="T20" fmla="*/ 22 w 92"/>
                  <a:gd name="T21" fmla="*/ 56 h 106"/>
                  <a:gd name="T22" fmla="*/ 12 w 92"/>
                  <a:gd name="T23" fmla="*/ 51 h 106"/>
                  <a:gd name="T24" fmla="*/ 5 w 92"/>
                  <a:gd name="T25" fmla="*/ 44 h 106"/>
                  <a:gd name="T26" fmla="*/ 2 w 92"/>
                  <a:gd name="T27" fmla="*/ 33 h 106"/>
                  <a:gd name="T28" fmla="*/ 6 w 92"/>
                  <a:gd name="T29" fmla="*/ 17 h 106"/>
                  <a:gd name="T30" fmla="*/ 16 w 92"/>
                  <a:gd name="T31" fmla="*/ 7 h 106"/>
                  <a:gd name="T32" fmla="*/ 30 w 92"/>
                  <a:gd name="T33" fmla="*/ 2 h 106"/>
                  <a:gd name="T34" fmla="*/ 45 w 92"/>
                  <a:gd name="T35" fmla="*/ 0 h 106"/>
                  <a:gd name="T36" fmla="*/ 61 w 92"/>
                  <a:gd name="T37" fmla="*/ 2 h 106"/>
                  <a:gd name="T38" fmla="*/ 75 w 92"/>
                  <a:gd name="T39" fmla="*/ 7 h 106"/>
                  <a:gd name="T40" fmla="*/ 85 w 92"/>
                  <a:gd name="T41" fmla="*/ 17 h 106"/>
                  <a:gd name="T42" fmla="*/ 90 w 92"/>
                  <a:gd name="T43" fmla="*/ 32 h 106"/>
                  <a:gd name="T44" fmla="*/ 63 w 92"/>
                  <a:gd name="T45" fmla="*/ 32 h 106"/>
                  <a:gd name="T46" fmla="*/ 57 w 92"/>
                  <a:gd name="T47" fmla="*/ 22 h 106"/>
                  <a:gd name="T48" fmla="*/ 45 w 92"/>
                  <a:gd name="T49" fmla="*/ 19 h 106"/>
                  <a:gd name="T50" fmla="*/ 40 w 92"/>
                  <a:gd name="T51" fmla="*/ 19 h 106"/>
                  <a:gd name="T52" fmla="*/ 35 w 92"/>
                  <a:gd name="T53" fmla="*/ 20 h 106"/>
                  <a:gd name="T54" fmla="*/ 31 w 92"/>
                  <a:gd name="T55" fmla="*/ 23 h 106"/>
                  <a:gd name="T56" fmla="*/ 29 w 92"/>
                  <a:gd name="T57" fmla="*/ 28 h 106"/>
                  <a:gd name="T58" fmla="*/ 32 w 92"/>
                  <a:gd name="T59" fmla="*/ 34 h 106"/>
                  <a:gd name="T60" fmla="*/ 39 w 92"/>
                  <a:gd name="T61" fmla="*/ 38 h 106"/>
                  <a:gd name="T62" fmla="*/ 49 w 92"/>
                  <a:gd name="T63" fmla="*/ 40 h 106"/>
                  <a:gd name="T64" fmla="*/ 61 w 92"/>
                  <a:gd name="T65" fmla="*/ 43 h 106"/>
                  <a:gd name="T66" fmla="*/ 72 w 92"/>
                  <a:gd name="T67" fmla="*/ 46 h 106"/>
                  <a:gd name="T68" fmla="*/ 82 w 92"/>
                  <a:gd name="T69" fmla="*/ 51 h 106"/>
                  <a:gd name="T70" fmla="*/ 90 w 92"/>
                  <a:gd name="T71" fmla="*/ 59 h 106"/>
                  <a:gd name="T72" fmla="*/ 92 w 92"/>
                  <a:gd name="T73" fmla="*/ 71 h 106"/>
                  <a:gd name="T74" fmla="*/ 88 w 92"/>
                  <a:gd name="T75" fmla="*/ 88 h 106"/>
                  <a:gd name="T76" fmla="*/ 78 w 92"/>
                  <a:gd name="T77" fmla="*/ 98 h 106"/>
                  <a:gd name="T78" fmla="*/ 63 w 92"/>
                  <a:gd name="T79" fmla="*/ 104 h 106"/>
                  <a:gd name="T80" fmla="*/ 47 w 92"/>
                  <a:gd name="T81" fmla="*/ 106 h 106"/>
                  <a:gd name="T82" fmla="*/ 30 w 92"/>
                  <a:gd name="T83" fmla="*/ 104 h 106"/>
                  <a:gd name="T84" fmla="*/ 15 w 92"/>
                  <a:gd name="T85" fmla="*/ 98 h 106"/>
                  <a:gd name="T86" fmla="*/ 4 w 92"/>
                  <a:gd name="T87" fmla="*/ 87 h 106"/>
                  <a:gd name="T88" fmla="*/ 0 w 92"/>
                  <a:gd name="T89" fmla="*/ 71 h 106"/>
                  <a:gd name="T90" fmla="*/ 26 w 92"/>
                  <a:gd name="T91" fmla="*/ 71 h 106"/>
                  <a:gd name="T92" fmla="*/ 27 w 92"/>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06">
                    <a:moveTo>
                      <a:pt x="27" y="78"/>
                    </a:moveTo>
                    <a:cubicBezTo>
                      <a:pt x="29" y="80"/>
                      <a:pt x="30" y="82"/>
                      <a:pt x="32" y="84"/>
                    </a:cubicBezTo>
                    <a:cubicBezTo>
                      <a:pt x="34" y="85"/>
                      <a:pt x="36" y="86"/>
                      <a:pt x="39" y="87"/>
                    </a:cubicBezTo>
                    <a:cubicBezTo>
                      <a:pt x="41" y="87"/>
                      <a:pt x="44" y="88"/>
                      <a:pt x="47" y="88"/>
                    </a:cubicBezTo>
                    <a:cubicBezTo>
                      <a:pt x="49" y="88"/>
                      <a:pt x="51" y="87"/>
                      <a:pt x="53" y="87"/>
                    </a:cubicBezTo>
                    <a:cubicBezTo>
                      <a:pt x="55" y="86"/>
                      <a:pt x="57" y="86"/>
                      <a:pt x="59" y="85"/>
                    </a:cubicBezTo>
                    <a:cubicBezTo>
                      <a:pt x="60" y="84"/>
                      <a:pt x="62" y="82"/>
                      <a:pt x="63" y="81"/>
                    </a:cubicBezTo>
                    <a:cubicBezTo>
                      <a:pt x="64" y="79"/>
                      <a:pt x="65" y="77"/>
                      <a:pt x="65" y="75"/>
                    </a:cubicBezTo>
                    <a:cubicBezTo>
                      <a:pt x="65" y="71"/>
                      <a:pt x="62" y="68"/>
                      <a:pt x="57" y="65"/>
                    </a:cubicBezTo>
                    <a:cubicBezTo>
                      <a:pt x="51" y="63"/>
                      <a:pt x="43" y="61"/>
                      <a:pt x="34" y="59"/>
                    </a:cubicBezTo>
                    <a:cubicBezTo>
                      <a:pt x="30" y="58"/>
                      <a:pt x="26" y="57"/>
                      <a:pt x="22" y="56"/>
                    </a:cubicBezTo>
                    <a:cubicBezTo>
                      <a:pt x="18" y="55"/>
                      <a:pt x="15" y="53"/>
                      <a:pt x="12" y="51"/>
                    </a:cubicBezTo>
                    <a:cubicBezTo>
                      <a:pt x="9" y="49"/>
                      <a:pt x="6" y="47"/>
                      <a:pt x="5" y="44"/>
                    </a:cubicBezTo>
                    <a:cubicBezTo>
                      <a:pt x="3" y="41"/>
                      <a:pt x="2" y="37"/>
                      <a:pt x="2" y="33"/>
                    </a:cubicBezTo>
                    <a:cubicBezTo>
                      <a:pt x="2" y="26"/>
                      <a:pt x="3" y="21"/>
                      <a:pt x="6" y="17"/>
                    </a:cubicBezTo>
                    <a:cubicBezTo>
                      <a:pt x="8" y="13"/>
                      <a:pt x="11" y="9"/>
                      <a:pt x="16" y="7"/>
                    </a:cubicBezTo>
                    <a:cubicBezTo>
                      <a:pt x="20" y="4"/>
                      <a:pt x="24" y="3"/>
                      <a:pt x="30" y="2"/>
                    </a:cubicBezTo>
                    <a:cubicBezTo>
                      <a:pt x="35" y="1"/>
                      <a:pt x="40" y="0"/>
                      <a:pt x="45" y="0"/>
                    </a:cubicBezTo>
                    <a:cubicBezTo>
                      <a:pt x="51" y="0"/>
                      <a:pt x="56" y="1"/>
                      <a:pt x="61" y="2"/>
                    </a:cubicBezTo>
                    <a:cubicBezTo>
                      <a:pt x="66" y="3"/>
                      <a:pt x="71" y="5"/>
                      <a:pt x="75" y="7"/>
                    </a:cubicBezTo>
                    <a:cubicBezTo>
                      <a:pt x="79" y="10"/>
                      <a:pt x="82" y="13"/>
                      <a:pt x="85" y="17"/>
                    </a:cubicBezTo>
                    <a:cubicBezTo>
                      <a:pt x="87" y="21"/>
                      <a:pt x="89" y="26"/>
                      <a:pt x="90" y="32"/>
                    </a:cubicBezTo>
                    <a:cubicBezTo>
                      <a:pt x="63" y="32"/>
                      <a:pt x="63" y="32"/>
                      <a:pt x="63" y="32"/>
                    </a:cubicBezTo>
                    <a:cubicBezTo>
                      <a:pt x="63" y="27"/>
                      <a:pt x="61" y="23"/>
                      <a:pt x="57" y="22"/>
                    </a:cubicBezTo>
                    <a:cubicBezTo>
                      <a:pt x="54" y="20"/>
                      <a:pt x="50" y="19"/>
                      <a:pt x="45" y="19"/>
                    </a:cubicBezTo>
                    <a:cubicBezTo>
                      <a:pt x="43" y="19"/>
                      <a:pt x="41" y="19"/>
                      <a:pt x="40" y="19"/>
                    </a:cubicBezTo>
                    <a:cubicBezTo>
                      <a:pt x="38" y="19"/>
                      <a:pt x="36" y="20"/>
                      <a:pt x="35" y="20"/>
                    </a:cubicBezTo>
                    <a:cubicBezTo>
                      <a:pt x="33" y="21"/>
                      <a:pt x="32" y="22"/>
                      <a:pt x="31" y="23"/>
                    </a:cubicBezTo>
                    <a:cubicBezTo>
                      <a:pt x="30" y="24"/>
                      <a:pt x="29" y="26"/>
                      <a:pt x="29" y="28"/>
                    </a:cubicBezTo>
                    <a:cubicBezTo>
                      <a:pt x="29" y="31"/>
                      <a:pt x="30" y="33"/>
                      <a:pt x="32" y="34"/>
                    </a:cubicBezTo>
                    <a:cubicBezTo>
                      <a:pt x="34" y="36"/>
                      <a:pt x="36" y="37"/>
                      <a:pt x="39" y="38"/>
                    </a:cubicBezTo>
                    <a:cubicBezTo>
                      <a:pt x="42" y="39"/>
                      <a:pt x="45" y="40"/>
                      <a:pt x="49" y="40"/>
                    </a:cubicBezTo>
                    <a:cubicBezTo>
                      <a:pt x="53" y="41"/>
                      <a:pt x="57" y="42"/>
                      <a:pt x="61" y="43"/>
                    </a:cubicBezTo>
                    <a:cubicBezTo>
                      <a:pt x="65" y="44"/>
                      <a:pt x="68" y="45"/>
                      <a:pt x="72" y="46"/>
                    </a:cubicBezTo>
                    <a:cubicBezTo>
                      <a:pt x="76" y="48"/>
                      <a:pt x="79" y="49"/>
                      <a:pt x="82" y="51"/>
                    </a:cubicBezTo>
                    <a:cubicBezTo>
                      <a:pt x="85" y="54"/>
                      <a:pt x="88" y="56"/>
                      <a:pt x="90" y="59"/>
                    </a:cubicBezTo>
                    <a:cubicBezTo>
                      <a:pt x="91" y="63"/>
                      <a:pt x="92" y="66"/>
                      <a:pt x="92" y="71"/>
                    </a:cubicBezTo>
                    <a:cubicBezTo>
                      <a:pt x="92" y="78"/>
                      <a:pt x="91" y="83"/>
                      <a:pt x="88" y="88"/>
                    </a:cubicBezTo>
                    <a:cubicBezTo>
                      <a:pt x="86" y="92"/>
                      <a:pt x="82" y="96"/>
                      <a:pt x="78" y="98"/>
                    </a:cubicBezTo>
                    <a:cubicBezTo>
                      <a:pt x="74" y="101"/>
                      <a:pt x="69" y="103"/>
                      <a:pt x="63" y="104"/>
                    </a:cubicBezTo>
                    <a:cubicBezTo>
                      <a:pt x="58" y="105"/>
                      <a:pt x="52" y="106"/>
                      <a:pt x="47" y="106"/>
                    </a:cubicBezTo>
                    <a:cubicBezTo>
                      <a:pt x="41" y="106"/>
                      <a:pt x="35" y="105"/>
                      <a:pt x="30" y="104"/>
                    </a:cubicBezTo>
                    <a:cubicBezTo>
                      <a:pt x="24" y="103"/>
                      <a:pt x="19" y="101"/>
                      <a:pt x="15" y="98"/>
                    </a:cubicBezTo>
                    <a:cubicBezTo>
                      <a:pt x="10" y="95"/>
                      <a:pt x="7" y="92"/>
                      <a:pt x="4" y="87"/>
                    </a:cubicBezTo>
                    <a:cubicBezTo>
                      <a:pt x="1" y="83"/>
                      <a:pt x="0" y="77"/>
                      <a:pt x="0" y="71"/>
                    </a:cubicBezTo>
                    <a:cubicBezTo>
                      <a:pt x="26" y="71"/>
                      <a:pt x="26" y="71"/>
                      <a:pt x="26" y="71"/>
                    </a:cubicBezTo>
                    <a:cubicBezTo>
                      <a:pt x="26" y="74"/>
                      <a:pt x="26" y="76"/>
                      <a:pt x="2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4" name="Freeform 23"/>
              <p:cNvSpPr>
                <a:spLocks/>
              </p:cNvSpPr>
              <p:nvPr/>
            </p:nvSpPr>
            <p:spPr bwMode="auto">
              <a:xfrm>
                <a:off x="1173163" y="4627563"/>
                <a:ext cx="150813" cy="187325"/>
              </a:xfrm>
              <a:custGeom>
                <a:avLst/>
                <a:gdLst>
                  <a:gd name="T0" fmla="*/ 32 w 117"/>
                  <a:gd name="T1" fmla="*/ 108 h 145"/>
                  <a:gd name="T2" fmla="*/ 39 w 117"/>
                  <a:gd name="T3" fmla="*/ 116 h 145"/>
                  <a:gd name="T4" fmla="*/ 49 w 117"/>
                  <a:gd name="T5" fmla="*/ 120 h 145"/>
                  <a:gd name="T6" fmla="*/ 60 w 117"/>
                  <a:gd name="T7" fmla="*/ 122 h 145"/>
                  <a:gd name="T8" fmla="*/ 69 w 117"/>
                  <a:gd name="T9" fmla="*/ 121 h 145"/>
                  <a:gd name="T10" fmla="*/ 78 w 117"/>
                  <a:gd name="T11" fmla="*/ 118 h 145"/>
                  <a:gd name="T12" fmla="*/ 84 w 117"/>
                  <a:gd name="T13" fmla="*/ 113 h 145"/>
                  <a:gd name="T14" fmla="*/ 87 w 117"/>
                  <a:gd name="T15" fmla="*/ 104 h 145"/>
                  <a:gd name="T16" fmla="*/ 84 w 117"/>
                  <a:gd name="T17" fmla="*/ 95 h 145"/>
                  <a:gd name="T18" fmla="*/ 74 w 117"/>
                  <a:gd name="T19" fmla="*/ 90 h 145"/>
                  <a:gd name="T20" fmla="*/ 61 w 117"/>
                  <a:gd name="T21" fmla="*/ 85 h 145"/>
                  <a:gd name="T22" fmla="*/ 46 w 117"/>
                  <a:gd name="T23" fmla="*/ 82 h 145"/>
                  <a:gd name="T24" fmla="*/ 31 w 117"/>
                  <a:gd name="T25" fmla="*/ 77 h 145"/>
                  <a:gd name="T26" fmla="*/ 18 w 117"/>
                  <a:gd name="T27" fmla="*/ 70 h 145"/>
                  <a:gd name="T28" fmla="*/ 8 w 117"/>
                  <a:gd name="T29" fmla="*/ 58 h 145"/>
                  <a:gd name="T30" fmla="*/ 5 w 117"/>
                  <a:gd name="T31" fmla="*/ 42 h 145"/>
                  <a:gd name="T32" fmla="*/ 9 w 117"/>
                  <a:gd name="T33" fmla="*/ 24 h 145"/>
                  <a:gd name="T34" fmla="*/ 21 w 117"/>
                  <a:gd name="T35" fmla="*/ 11 h 145"/>
                  <a:gd name="T36" fmla="*/ 38 w 117"/>
                  <a:gd name="T37" fmla="*/ 3 h 145"/>
                  <a:gd name="T38" fmla="*/ 56 w 117"/>
                  <a:gd name="T39" fmla="*/ 0 h 145"/>
                  <a:gd name="T40" fmla="*/ 77 w 117"/>
                  <a:gd name="T41" fmla="*/ 3 h 145"/>
                  <a:gd name="T42" fmla="*/ 95 w 117"/>
                  <a:gd name="T43" fmla="*/ 11 h 145"/>
                  <a:gd name="T44" fmla="*/ 107 w 117"/>
                  <a:gd name="T45" fmla="*/ 25 h 145"/>
                  <a:gd name="T46" fmla="*/ 112 w 117"/>
                  <a:gd name="T47" fmla="*/ 45 h 145"/>
                  <a:gd name="T48" fmla="*/ 82 w 117"/>
                  <a:gd name="T49" fmla="*/ 45 h 145"/>
                  <a:gd name="T50" fmla="*/ 80 w 117"/>
                  <a:gd name="T51" fmla="*/ 35 h 145"/>
                  <a:gd name="T52" fmla="*/ 74 w 117"/>
                  <a:gd name="T53" fmla="*/ 28 h 145"/>
                  <a:gd name="T54" fmla="*/ 65 w 117"/>
                  <a:gd name="T55" fmla="*/ 25 h 145"/>
                  <a:gd name="T56" fmla="*/ 55 w 117"/>
                  <a:gd name="T57" fmla="*/ 24 h 145"/>
                  <a:gd name="T58" fmla="*/ 48 w 117"/>
                  <a:gd name="T59" fmla="*/ 25 h 145"/>
                  <a:gd name="T60" fmla="*/ 41 w 117"/>
                  <a:gd name="T61" fmla="*/ 28 h 145"/>
                  <a:gd name="T62" fmla="*/ 36 w 117"/>
                  <a:gd name="T63" fmla="*/ 32 h 145"/>
                  <a:gd name="T64" fmla="*/ 34 w 117"/>
                  <a:gd name="T65" fmla="*/ 40 h 145"/>
                  <a:gd name="T66" fmla="*/ 36 w 117"/>
                  <a:gd name="T67" fmla="*/ 46 h 145"/>
                  <a:gd name="T68" fmla="*/ 42 w 117"/>
                  <a:gd name="T69" fmla="*/ 51 h 145"/>
                  <a:gd name="T70" fmla="*/ 54 w 117"/>
                  <a:gd name="T71" fmla="*/ 55 h 145"/>
                  <a:gd name="T72" fmla="*/ 75 w 117"/>
                  <a:gd name="T73" fmla="*/ 61 h 145"/>
                  <a:gd name="T74" fmla="*/ 86 w 117"/>
                  <a:gd name="T75" fmla="*/ 63 h 145"/>
                  <a:gd name="T76" fmla="*/ 100 w 117"/>
                  <a:gd name="T77" fmla="*/ 70 h 145"/>
                  <a:gd name="T78" fmla="*/ 112 w 117"/>
                  <a:gd name="T79" fmla="*/ 82 h 145"/>
                  <a:gd name="T80" fmla="*/ 117 w 117"/>
                  <a:gd name="T81" fmla="*/ 101 h 145"/>
                  <a:gd name="T82" fmla="*/ 113 w 117"/>
                  <a:gd name="T83" fmla="*/ 119 h 145"/>
                  <a:gd name="T84" fmla="*/ 102 w 117"/>
                  <a:gd name="T85" fmla="*/ 133 h 145"/>
                  <a:gd name="T86" fmla="*/ 84 w 117"/>
                  <a:gd name="T87" fmla="*/ 142 h 145"/>
                  <a:gd name="T88" fmla="*/ 59 w 117"/>
                  <a:gd name="T89" fmla="*/ 145 h 145"/>
                  <a:gd name="T90" fmla="*/ 37 w 117"/>
                  <a:gd name="T91" fmla="*/ 142 h 145"/>
                  <a:gd name="T92" fmla="*/ 18 w 117"/>
                  <a:gd name="T93" fmla="*/ 134 h 145"/>
                  <a:gd name="T94" fmla="*/ 5 w 117"/>
                  <a:gd name="T95" fmla="*/ 118 h 145"/>
                  <a:gd name="T96" fmla="*/ 0 w 117"/>
                  <a:gd name="T97" fmla="*/ 96 h 145"/>
                  <a:gd name="T98" fmla="*/ 30 w 117"/>
                  <a:gd name="T99" fmla="*/ 96 h 145"/>
                  <a:gd name="T100" fmla="*/ 32 w 117"/>
                  <a:gd name="T101" fmla="*/ 10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145">
                    <a:moveTo>
                      <a:pt x="32" y="108"/>
                    </a:moveTo>
                    <a:cubicBezTo>
                      <a:pt x="34" y="111"/>
                      <a:pt x="36" y="114"/>
                      <a:pt x="39" y="116"/>
                    </a:cubicBezTo>
                    <a:cubicBezTo>
                      <a:pt x="42" y="118"/>
                      <a:pt x="45" y="119"/>
                      <a:pt x="49" y="120"/>
                    </a:cubicBezTo>
                    <a:cubicBezTo>
                      <a:pt x="52" y="121"/>
                      <a:pt x="56" y="122"/>
                      <a:pt x="60" y="122"/>
                    </a:cubicBezTo>
                    <a:cubicBezTo>
                      <a:pt x="63" y="122"/>
                      <a:pt x="66" y="121"/>
                      <a:pt x="69" y="121"/>
                    </a:cubicBezTo>
                    <a:cubicBezTo>
                      <a:pt x="72" y="121"/>
                      <a:pt x="75" y="120"/>
                      <a:pt x="78" y="118"/>
                    </a:cubicBezTo>
                    <a:cubicBezTo>
                      <a:pt x="80" y="117"/>
                      <a:pt x="83" y="115"/>
                      <a:pt x="84" y="113"/>
                    </a:cubicBezTo>
                    <a:cubicBezTo>
                      <a:pt x="86" y="111"/>
                      <a:pt x="87" y="108"/>
                      <a:pt x="87" y="104"/>
                    </a:cubicBezTo>
                    <a:cubicBezTo>
                      <a:pt x="87" y="101"/>
                      <a:pt x="86" y="98"/>
                      <a:pt x="84" y="95"/>
                    </a:cubicBezTo>
                    <a:cubicBezTo>
                      <a:pt x="81" y="93"/>
                      <a:pt x="78" y="91"/>
                      <a:pt x="74" y="90"/>
                    </a:cubicBezTo>
                    <a:cubicBezTo>
                      <a:pt x="70" y="88"/>
                      <a:pt x="66" y="87"/>
                      <a:pt x="61" y="85"/>
                    </a:cubicBezTo>
                    <a:cubicBezTo>
                      <a:pt x="56" y="84"/>
                      <a:pt x="51" y="83"/>
                      <a:pt x="46" y="82"/>
                    </a:cubicBezTo>
                    <a:cubicBezTo>
                      <a:pt x="41" y="80"/>
                      <a:pt x="36" y="79"/>
                      <a:pt x="31" y="77"/>
                    </a:cubicBezTo>
                    <a:cubicBezTo>
                      <a:pt x="26" y="75"/>
                      <a:pt x="22" y="73"/>
                      <a:pt x="18" y="70"/>
                    </a:cubicBezTo>
                    <a:cubicBezTo>
                      <a:pt x="14" y="67"/>
                      <a:pt x="11" y="63"/>
                      <a:pt x="8" y="58"/>
                    </a:cubicBezTo>
                    <a:cubicBezTo>
                      <a:pt x="6" y="54"/>
                      <a:pt x="5" y="49"/>
                      <a:pt x="5" y="42"/>
                    </a:cubicBezTo>
                    <a:cubicBezTo>
                      <a:pt x="5" y="35"/>
                      <a:pt x="6" y="29"/>
                      <a:pt x="9" y="24"/>
                    </a:cubicBezTo>
                    <a:cubicBezTo>
                      <a:pt x="12" y="19"/>
                      <a:pt x="16" y="14"/>
                      <a:pt x="21" y="11"/>
                    </a:cubicBezTo>
                    <a:cubicBezTo>
                      <a:pt x="26" y="7"/>
                      <a:pt x="32" y="5"/>
                      <a:pt x="38" y="3"/>
                    </a:cubicBezTo>
                    <a:cubicBezTo>
                      <a:pt x="44" y="1"/>
                      <a:pt x="50" y="0"/>
                      <a:pt x="56" y="0"/>
                    </a:cubicBezTo>
                    <a:cubicBezTo>
                      <a:pt x="64" y="0"/>
                      <a:pt x="71" y="1"/>
                      <a:pt x="77" y="3"/>
                    </a:cubicBezTo>
                    <a:cubicBezTo>
                      <a:pt x="84" y="4"/>
                      <a:pt x="90" y="7"/>
                      <a:pt x="95" y="11"/>
                    </a:cubicBezTo>
                    <a:cubicBezTo>
                      <a:pt x="100" y="14"/>
                      <a:pt x="104" y="19"/>
                      <a:pt x="107" y="25"/>
                    </a:cubicBezTo>
                    <a:cubicBezTo>
                      <a:pt x="110" y="30"/>
                      <a:pt x="112" y="37"/>
                      <a:pt x="112" y="45"/>
                    </a:cubicBezTo>
                    <a:cubicBezTo>
                      <a:pt x="82" y="45"/>
                      <a:pt x="82" y="45"/>
                      <a:pt x="82" y="45"/>
                    </a:cubicBezTo>
                    <a:cubicBezTo>
                      <a:pt x="82" y="41"/>
                      <a:pt x="81" y="37"/>
                      <a:pt x="80" y="35"/>
                    </a:cubicBezTo>
                    <a:cubicBezTo>
                      <a:pt x="78" y="32"/>
                      <a:pt x="76" y="30"/>
                      <a:pt x="74" y="28"/>
                    </a:cubicBezTo>
                    <a:cubicBezTo>
                      <a:pt x="71" y="27"/>
                      <a:pt x="69" y="26"/>
                      <a:pt x="65" y="25"/>
                    </a:cubicBezTo>
                    <a:cubicBezTo>
                      <a:pt x="62" y="24"/>
                      <a:pt x="59" y="24"/>
                      <a:pt x="55" y="24"/>
                    </a:cubicBezTo>
                    <a:cubicBezTo>
                      <a:pt x="53" y="24"/>
                      <a:pt x="50" y="24"/>
                      <a:pt x="48" y="25"/>
                    </a:cubicBezTo>
                    <a:cubicBezTo>
                      <a:pt x="45" y="25"/>
                      <a:pt x="43" y="26"/>
                      <a:pt x="41" y="28"/>
                    </a:cubicBezTo>
                    <a:cubicBezTo>
                      <a:pt x="39" y="29"/>
                      <a:pt x="37" y="30"/>
                      <a:pt x="36" y="32"/>
                    </a:cubicBezTo>
                    <a:cubicBezTo>
                      <a:pt x="35" y="34"/>
                      <a:pt x="34" y="37"/>
                      <a:pt x="34" y="40"/>
                    </a:cubicBezTo>
                    <a:cubicBezTo>
                      <a:pt x="34" y="42"/>
                      <a:pt x="35" y="45"/>
                      <a:pt x="36" y="46"/>
                    </a:cubicBezTo>
                    <a:cubicBezTo>
                      <a:pt x="37" y="48"/>
                      <a:pt x="39" y="50"/>
                      <a:pt x="42" y="51"/>
                    </a:cubicBezTo>
                    <a:cubicBezTo>
                      <a:pt x="45" y="52"/>
                      <a:pt x="49" y="54"/>
                      <a:pt x="54" y="55"/>
                    </a:cubicBezTo>
                    <a:cubicBezTo>
                      <a:pt x="60" y="57"/>
                      <a:pt x="67" y="58"/>
                      <a:pt x="75" y="61"/>
                    </a:cubicBezTo>
                    <a:cubicBezTo>
                      <a:pt x="78" y="61"/>
                      <a:pt x="82" y="62"/>
                      <a:pt x="86" y="63"/>
                    </a:cubicBezTo>
                    <a:cubicBezTo>
                      <a:pt x="91" y="65"/>
                      <a:pt x="95" y="67"/>
                      <a:pt x="100" y="70"/>
                    </a:cubicBezTo>
                    <a:cubicBezTo>
                      <a:pt x="104" y="73"/>
                      <a:pt x="108" y="77"/>
                      <a:pt x="112" y="82"/>
                    </a:cubicBezTo>
                    <a:cubicBezTo>
                      <a:pt x="115" y="87"/>
                      <a:pt x="117" y="93"/>
                      <a:pt x="117" y="101"/>
                    </a:cubicBezTo>
                    <a:cubicBezTo>
                      <a:pt x="117" y="107"/>
                      <a:pt x="115" y="113"/>
                      <a:pt x="113" y="119"/>
                    </a:cubicBezTo>
                    <a:cubicBezTo>
                      <a:pt x="110" y="124"/>
                      <a:pt x="107" y="129"/>
                      <a:pt x="102" y="133"/>
                    </a:cubicBezTo>
                    <a:cubicBezTo>
                      <a:pt x="97" y="137"/>
                      <a:pt x="91" y="140"/>
                      <a:pt x="84" y="142"/>
                    </a:cubicBezTo>
                    <a:cubicBezTo>
                      <a:pt x="77" y="144"/>
                      <a:pt x="68" y="145"/>
                      <a:pt x="59" y="145"/>
                    </a:cubicBezTo>
                    <a:cubicBezTo>
                      <a:pt x="51" y="145"/>
                      <a:pt x="44" y="144"/>
                      <a:pt x="37" y="142"/>
                    </a:cubicBezTo>
                    <a:cubicBezTo>
                      <a:pt x="30" y="140"/>
                      <a:pt x="23" y="138"/>
                      <a:pt x="18" y="134"/>
                    </a:cubicBezTo>
                    <a:cubicBezTo>
                      <a:pt x="12" y="129"/>
                      <a:pt x="8" y="124"/>
                      <a:pt x="5" y="118"/>
                    </a:cubicBezTo>
                    <a:cubicBezTo>
                      <a:pt x="2" y="112"/>
                      <a:pt x="0" y="105"/>
                      <a:pt x="0" y="96"/>
                    </a:cubicBezTo>
                    <a:cubicBezTo>
                      <a:pt x="30" y="96"/>
                      <a:pt x="30" y="96"/>
                      <a:pt x="30" y="96"/>
                    </a:cubicBezTo>
                    <a:cubicBezTo>
                      <a:pt x="30" y="101"/>
                      <a:pt x="30" y="105"/>
                      <a:pt x="3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5" name="Freeform 24"/>
              <p:cNvSpPr>
                <a:spLocks noEditPoints="1"/>
              </p:cNvSpPr>
              <p:nvPr/>
            </p:nvSpPr>
            <p:spPr bwMode="auto">
              <a:xfrm>
                <a:off x="1333500" y="4678363"/>
                <a:ext cx="128588" cy="136525"/>
              </a:xfrm>
              <a:custGeom>
                <a:avLst/>
                <a:gdLst>
                  <a:gd name="T0" fmla="*/ 34 w 100"/>
                  <a:gd name="T1" fmla="*/ 79 h 106"/>
                  <a:gd name="T2" fmla="*/ 52 w 100"/>
                  <a:gd name="T3" fmla="*/ 85 h 106"/>
                  <a:gd name="T4" fmla="*/ 66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3 w 100"/>
                  <a:gd name="T19" fmla="*/ 74 h 106"/>
                  <a:gd name="T20" fmla="*/ 0 w 100"/>
                  <a:gd name="T21" fmla="*/ 53 h 106"/>
                  <a:gd name="T22" fmla="*/ 3 w 100"/>
                  <a:gd name="T23" fmla="*/ 32 h 106"/>
                  <a:gd name="T24" fmla="*/ 14 w 100"/>
                  <a:gd name="T25" fmla="*/ 15 h 106"/>
                  <a:gd name="T26" fmla="*/ 30 w 100"/>
                  <a:gd name="T27" fmla="*/ 4 h 106"/>
                  <a:gd name="T28" fmla="*/ 51 w 100"/>
                  <a:gd name="T29" fmla="*/ 0 h 106"/>
                  <a:gd name="T30" fmla="*/ 73 w 100"/>
                  <a:gd name="T31" fmla="*/ 5 h 106"/>
                  <a:gd name="T32" fmla="*/ 89 w 100"/>
                  <a:gd name="T33" fmla="*/ 18 h 106"/>
                  <a:gd name="T34" fmla="*/ 98 w 100"/>
                  <a:gd name="T35" fmla="*/ 37 h 106"/>
                  <a:gd name="T36" fmla="*/ 100 w 100"/>
                  <a:gd name="T37" fmla="*/ 60 h 106"/>
                  <a:gd name="T38" fmla="*/ 27 w 100"/>
                  <a:gd name="T39" fmla="*/ 60 h 106"/>
                  <a:gd name="T40" fmla="*/ 34 w 100"/>
                  <a:gd name="T41" fmla="*/ 79 h 106"/>
                  <a:gd name="T42" fmla="*/ 65 w 100"/>
                  <a:gd name="T43" fmla="*/ 26 h 106"/>
                  <a:gd name="T44" fmla="*/ 50 w 100"/>
                  <a:gd name="T45" fmla="*/ 21 h 106"/>
                  <a:gd name="T46" fmla="*/ 39 w 100"/>
                  <a:gd name="T47" fmla="*/ 23 h 106"/>
                  <a:gd name="T48" fmla="*/ 32 w 100"/>
                  <a:gd name="T49" fmla="*/ 29 h 106"/>
                  <a:gd name="T50" fmla="*/ 29 w 100"/>
                  <a:gd name="T51" fmla="*/ 36 h 106"/>
                  <a:gd name="T52" fmla="*/ 27 w 100"/>
                  <a:gd name="T53" fmla="*/ 42 h 106"/>
                  <a:gd name="T54" fmla="*/ 72 w 100"/>
                  <a:gd name="T55" fmla="*/ 42 h 106"/>
                  <a:gd name="T56" fmla="*/ 65 w 100"/>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8" y="83"/>
                      <a:pt x="44" y="85"/>
                      <a:pt x="52" y="85"/>
                    </a:cubicBezTo>
                    <a:cubicBezTo>
                      <a:pt x="57" y="85"/>
                      <a:pt x="62" y="84"/>
                      <a:pt x="66" y="81"/>
                    </a:cubicBezTo>
                    <a:cubicBezTo>
                      <a:pt x="70" y="78"/>
                      <a:pt x="73" y="75"/>
                      <a:pt x="74" y="72"/>
                    </a:cubicBezTo>
                    <a:cubicBezTo>
                      <a:pt x="98" y="72"/>
                      <a:pt x="98" y="72"/>
                      <a:pt x="98" y="72"/>
                    </a:cubicBezTo>
                    <a:cubicBezTo>
                      <a:pt x="94" y="84"/>
                      <a:pt x="88" y="93"/>
                      <a:pt x="80" y="98"/>
                    </a:cubicBezTo>
                    <a:cubicBezTo>
                      <a:pt x="72" y="103"/>
                      <a:pt x="62" y="106"/>
                      <a:pt x="51" y="106"/>
                    </a:cubicBezTo>
                    <a:cubicBezTo>
                      <a:pt x="43" y="106"/>
                      <a:pt x="36" y="104"/>
                      <a:pt x="30" y="102"/>
                    </a:cubicBezTo>
                    <a:cubicBezTo>
                      <a:pt x="23" y="99"/>
                      <a:pt x="18" y="96"/>
                      <a:pt x="14" y="91"/>
                    </a:cubicBezTo>
                    <a:cubicBezTo>
                      <a:pt x="9" y="86"/>
                      <a:pt x="6" y="81"/>
                      <a:pt x="3" y="74"/>
                    </a:cubicBezTo>
                    <a:cubicBezTo>
                      <a:pt x="1" y="68"/>
                      <a:pt x="0" y="61"/>
                      <a:pt x="0" y="53"/>
                    </a:cubicBezTo>
                    <a:cubicBezTo>
                      <a:pt x="0" y="46"/>
                      <a:pt x="1" y="39"/>
                      <a:pt x="3" y="32"/>
                    </a:cubicBezTo>
                    <a:cubicBezTo>
                      <a:pt x="6" y="26"/>
                      <a:pt x="9" y="20"/>
                      <a:pt x="14" y="15"/>
                    </a:cubicBezTo>
                    <a:cubicBezTo>
                      <a:pt x="18" y="11"/>
                      <a:pt x="24" y="7"/>
                      <a:pt x="30" y="4"/>
                    </a:cubicBezTo>
                    <a:cubicBezTo>
                      <a:pt x="36" y="2"/>
                      <a:pt x="43" y="0"/>
                      <a:pt x="51" y="0"/>
                    </a:cubicBezTo>
                    <a:cubicBezTo>
                      <a:pt x="59" y="0"/>
                      <a:pt x="67" y="2"/>
                      <a:pt x="73" y="5"/>
                    </a:cubicBezTo>
                    <a:cubicBezTo>
                      <a:pt x="80" y="8"/>
                      <a:pt x="85" y="13"/>
                      <a:pt x="89" y="18"/>
                    </a:cubicBezTo>
                    <a:cubicBezTo>
                      <a:pt x="93" y="24"/>
                      <a:pt x="96" y="30"/>
                      <a:pt x="98" y="37"/>
                    </a:cubicBezTo>
                    <a:cubicBezTo>
                      <a:pt x="99" y="44"/>
                      <a:pt x="100" y="52"/>
                      <a:pt x="100" y="60"/>
                    </a:cubicBezTo>
                    <a:cubicBezTo>
                      <a:pt x="27" y="60"/>
                      <a:pt x="27" y="60"/>
                      <a:pt x="27" y="60"/>
                    </a:cubicBezTo>
                    <a:cubicBezTo>
                      <a:pt x="28" y="69"/>
                      <a:pt x="30" y="75"/>
                      <a:pt x="34" y="79"/>
                    </a:cubicBezTo>
                    <a:close/>
                    <a:moveTo>
                      <a:pt x="65" y="26"/>
                    </a:moveTo>
                    <a:cubicBezTo>
                      <a:pt x="62" y="23"/>
                      <a:pt x="57" y="21"/>
                      <a:pt x="50" y="21"/>
                    </a:cubicBezTo>
                    <a:cubicBezTo>
                      <a:pt x="46" y="21"/>
                      <a:pt x="42" y="22"/>
                      <a:pt x="39" y="23"/>
                    </a:cubicBezTo>
                    <a:cubicBezTo>
                      <a:pt x="36" y="25"/>
                      <a:pt x="34" y="26"/>
                      <a:pt x="32" y="29"/>
                    </a:cubicBezTo>
                    <a:cubicBezTo>
                      <a:pt x="31" y="31"/>
                      <a:pt x="29" y="33"/>
                      <a:pt x="29" y="36"/>
                    </a:cubicBezTo>
                    <a:cubicBezTo>
                      <a:pt x="28" y="38"/>
                      <a:pt x="27" y="40"/>
                      <a:pt x="27" y="42"/>
                    </a:cubicBezTo>
                    <a:cubicBezTo>
                      <a:pt x="72" y="42"/>
                      <a:pt x="72" y="42"/>
                      <a:pt x="72" y="42"/>
                    </a:cubicBezTo>
                    <a:cubicBezTo>
                      <a:pt x="71" y="35"/>
                      <a:pt x="68" y="30"/>
                      <a:pt x="6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4" name="Freeform 25"/>
              <p:cNvSpPr>
                <a:spLocks/>
              </p:cNvSpPr>
              <p:nvPr/>
            </p:nvSpPr>
            <p:spPr bwMode="auto">
              <a:xfrm>
                <a:off x="1479550" y="4678363"/>
                <a:ext cx="82550" cy="133350"/>
              </a:xfrm>
              <a:custGeom>
                <a:avLst/>
                <a:gdLst>
                  <a:gd name="T0" fmla="*/ 26 w 64"/>
                  <a:gd name="T1" fmla="*/ 3 h 103"/>
                  <a:gd name="T2" fmla="*/ 26 w 64"/>
                  <a:gd name="T3" fmla="*/ 21 h 103"/>
                  <a:gd name="T4" fmla="*/ 27 w 64"/>
                  <a:gd name="T5" fmla="*/ 21 h 103"/>
                  <a:gd name="T6" fmla="*/ 32 w 64"/>
                  <a:gd name="T7" fmla="*/ 13 h 103"/>
                  <a:gd name="T8" fmla="*/ 39 w 64"/>
                  <a:gd name="T9" fmla="*/ 6 h 103"/>
                  <a:gd name="T10" fmla="*/ 48 w 64"/>
                  <a:gd name="T11" fmla="*/ 2 h 103"/>
                  <a:gd name="T12" fmla="*/ 58 w 64"/>
                  <a:gd name="T13" fmla="*/ 0 h 103"/>
                  <a:gd name="T14" fmla="*/ 64 w 64"/>
                  <a:gd name="T15" fmla="*/ 1 h 103"/>
                  <a:gd name="T16" fmla="*/ 64 w 64"/>
                  <a:gd name="T17" fmla="*/ 27 h 103"/>
                  <a:gd name="T18" fmla="*/ 60 w 64"/>
                  <a:gd name="T19" fmla="*/ 26 h 103"/>
                  <a:gd name="T20" fmla="*/ 55 w 64"/>
                  <a:gd name="T21" fmla="*/ 26 h 103"/>
                  <a:gd name="T22" fmla="*/ 42 w 64"/>
                  <a:gd name="T23" fmla="*/ 28 h 103"/>
                  <a:gd name="T24" fmla="*/ 33 w 64"/>
                  <a:gd name="T25" fmla="*/ 35 h 103"/>
                  <a:gd name="T26" fmla="*/ 29 w 64"/>
                  <a:gd name="T27" fmla="*/ 45 h 103"/>
                  <a:gd name="T28" fmla="*/ 27 w 64"/>
                  <a:gd name="T29" fmla="*/ 58 h 103"/>
                  <a:gd name="T30" fmla="*/ 27 w 64"/>
                  <a:gd name="T31" fmla="*/ 103 h 103"/>
                  <a:gd name="T32" fmla="*/ 0 w 64"/>
                  <a:gd name="T33" fmla="*/ 103 h 103"/>
                  <a:gd name="T34" fmla="*/ 0 w 64"/>
                  <a:gd name="T35" fmla="*/ 3 h 103"/>
                  <a:gd name="T36" fmla="*/ 26 w 64"/>
                  <a:gd name="T37"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3">
                    <a:moveTo>
                      <a:pt x="26" y="3"/>
                    </a:moveTo>
                    <a:cubicBezTo>
                      <a:pt x="26" y="21"/>
                      <a:pt x="26" y="21"/>
                      <a:pt x="26" y="21"/>
                    </a:cubicBezTo>
                    <a:cubicBezTo>
                      <a:pt x="27" y="21"/>
                      <a:pt x="27" y="21"/>
                      <a:pt x="27" y="21"/>
                    </a:cubicBezTo>
                    <a:cubicBezTo>
                      <a:pt x="28" y="18"/>
                      <a:pt x="30" y="16"/>
                      <a:pt x="32" y="13"/>
                    </a:cubicBezTo>
                    <a:cubicBezTo>
                      <a:pt x="34" y="10"/>
                      <a:pt x="36" y="8"/>
                      <a:pt x="39" y="6"/>
                    </a:cubicBezTo>
                    <a:cubicBezTo>
                      <a:pt x="42" y="4"/>
                      <a:pt x="45" y="3"/>
                      <a:pt x="48" y="2"/>
                    </a:cubicBezTo>
                    <a:cubicBezTo>
                      <a:pt x="52" y="1"/>
                      <a:pt x="55" y="0"/>
                      <a:pt x="58" y="0"/>
                    </a:cubicBezTo>
                    <a:cubicBezTo>
                      <a:pt x="60" y="0"/>
                      <a:pt x="62" y="1"/>
                      <a:pt x="64" y="1"/>
                    </a:cubicBezTo>
                    <a:cubicBezTo>
                      <a:pt x="64" y="27"/>
                      <a:pt x="64" y="27"/>
                      <a:pt x="64" y="27"/>
                    </a:cubicBezTo>
                    <a:cubicBezTo>
                      <a:pt x="63" y="26"/>
                      <a:pt x="62" y="26"/>
                      <a:pt x="60" y="26"/>
                    </a:cubicBezTo>
                    <a:cubicBezTo>
                      <a:pt x="58" y="26"/>
                      <a:pt x="56" y="26"/>
                      <a:pt x="55" y="26"/>
                    </a:cubicBezTo>
                    <a:cubicBezTo>
                      <a:pt x="50" y="26"/>
                      <a:pt x="45" y="27"/>
                      <a:pt x="42" y="28"/>
                    </a:cubicBezTo>
                    <a:cubicBezTo>
                      <a:pt x="38" y="30"/>
                      <a:pt x="36" y="32"/>
                      <a:pt x="33" y="35"/>
                    </a:cubicBezTo>
                    <a:cubicBezTo>
                      <a:pt x="31" y="38"/>
                      <a:pt x="30" y="41"/>
                      <a:pt x="29" y="45"/>
                    </a:cubicBezTo>
                    <a:cubicBezTo>
                      <a:pt x="28" y="49"/>
                      <a:pt x="27" y="53"/>
                      <a:pt x="27" y="58"/>
                    </a:cubicBezTo>
                    <a:cubicBezTo>
                      <a:pt x="27" y="103"/>
                      <a:pt x="27" y="103"/>
                      <a:pt x="27" y="103"/>
                    </a:cubicBezTo>
                    <a:cubicBezTo>
                      <a:pt x="0" y="103"/>
                      <a:pt x="0" y="103"/>
                      <a:pt x="0" y="103"/>
                    </a:cubicBezTo>
                    <a:cubicBezTo>
                      <a:pt x="0" y="3"/>
                      <a:pt x="0" y="3"/>
                      <a:pt x="0" y="3"/>
                    </a:cubicBez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5" name="Freeform 26"/>
              <p:cNvSpPr>
                <a:spLocks/>
              </p:cNvSpPr>
              <p:nvPr/>
            </p:nvSpPr>
            <p:spPr bwMode="auto">
              <a:xfrm>
                <a:off x="1573213" y="4681538"/>
                <a:ext cx="127000" cy="130175"/>
              </a:xfrm>
              <a:custGeom>
                <a:avLst/>
                <a:gdLst>
                  <a:gd name="T0" fmla="*/ 28 w 80"/>
                  <a:gd name="T1" fmla="*/ 82 h 82"/>
                  <a:gd name="T2" fmla="*/ 0 w 80"/>
                  <a:gd name="T3" fmla="*/ 0 h 82"/>
                  <a:gd name="T4" fmla="*/ 24 w 80"/>
                  <a:gd name="T5" fmla="*/ 0 h 82"/>
                  <a:gd name="T6" fmla="*/ 41 w 80"/>
                  <a:gd name="T7" fmla="*/ 56 h 82"/>
                  <a:gd name="T8" fmla="*/ 41 w 80"/>
                  <a:gd name="T9" fmla="*/ 56 h 82"/>
                  <a:gd name="T10" fmla="*/ 58 w 80"/>
                  <a:gd name="T11" fmla="*/ 0 h 82"/>
                  <a:gd name="T12" fmla="*/ 80 w 80"/>
                  <a:gd name="T13" fmla="*/ 0 h 82"/>
                  <a:gd name="T14" fmla="*/ 53 w 80"/>
                  <a:gd name="T15" fmla="*/ 82 h 82"/>
                  <a:gd name="T16" fmla="*/ 28 w 80"/>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2">
                    <a:moveTo>
                      <a:pt x="28" y="82"/>
                    </a:moveTo>
                    <a:lnTo>
                      <a:pt x="0" y="0"/>
                    </a:lnTo>
                    <a:lnTo>
                      <a:pt x="24" y="0"/>
                    </a:lnTo>
                    <a:lnTo>
                      <a:pt x="41" y="56"/>
                    </a:lnTo>
                    <a:lnTo>
                      <a:pt x="41" y="56"/>
                    </a:lnTo>
                    <a:lnTo>
                      <a:pt x="58" y="0"/>
                    </a:lnTo>
                    <a:lnTo>
                      <a:pt x="80" y="0"/>
                    </a:lnTo>
                    <a:lnTo>
                      <a:pt x="53" y="82"/>
                    </a:lnTo>
                    <a:lnTo>
                      <a:pt x="2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6" name="Freeform 27"/>
              <p:cNvSpPr>
                <a:spLocks noEditPoints="1"/>
              </p:cNvSpPr>
              <p:nvPr/>
            </p:nvSpPr>
            <p:spPr bwMode="auto">
              <a:xfrm>
                <a:off x="1712913" y="4632326"/>
                <a:ext cx="34925" cy="179388"/>
              </a:xfrm>
              <a:custGeom>
                <a:avLst/>
                <a:gdLst>
                  <a:gd name="T0" fmla="*/ 0 w 22"/>
                  <a:gd name="T1" fmla="*/ 18 h 113"/>
                  <a:gd name="T2" fmla="*/ 0 w 22"/>
                  <a:gd name="T3" fmla="*/ 0 h 113"/>
                  <a:gd name="T4" fmla="*/ 22 w 22"/>
                  <a:gd name="T5" fmla="*/ 0 h 113"/>
                  <a:gd name="T6" fmla="*/ 22 w 22"/>
                  <a:gd name="T7" fmla="*/ 18 h 113"/>
                  <a:gd name="T8" fmla="*/ 0 w 22"/>
                  <a:gd name="T9" fmla="*/ 18 h 113"/>
                  <a:gd name="T10" fmla="*/ 22 w 22"/>
                  <a:gd name="T11" fmla="*/ 31 h 113"/>
                  <a:gd name="T12" fmla="*/ 22 w 22"/>
                  <a:gd name="T13" fmla="*/ 113 h 113"/>
                  <a:gd name="T14" fmla="*/ 0 w 22"/>
                  <a:gd name="T15" fmla="*/ 113 h 113"/>
                  <a:gd name="T16" fmla="*/ 0 w 22"/>
                  <a:gd name="T17" fmla="*/ 31 h 113"/>
                  <a:gd name="T18" fmla="*/ 22 w 22"/>
                  <a:gd name="T19" fmla="*/ 3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13">
                    <a:moveTo>
                      <a:pt x="0" y="18"/>
                    </a:moveTo>
                    <a:lnTo>
                      <a:pt x="0" y="0"/>
                    </a:lnTo>
                    <a:lnTo>
                      <a:pt x="22" y="0"/>
                    </a:lnTo>
                    <a:lnTo>
                      <a:pt x="22" y="18"/>
                    </a:lnTo>
                    <a:lnTo>
                      <a:pt x="0" y="18"/>
                    </a:lnTo>
                    <a:close/>
                    <a:moveTo>
                      <a:pt x="22" y="31"/>
                    </a:moveTo>
                    <a:lnTo>
                      <a:pt x="22" y="113"/>
                    </a:lnTo>
                    <a:lnTo>
                      <a:pt x="0" y="113"/>
                    </a:lnTo>
                    <a:lnTo>
                      <a:pt x="0" y="31"/>
                    </a:lnTo>
                    <a:lnTo>
                      <a:pt x="2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7" name="Freeform 28"/>
              <p:cNvSpPr>
                <a:spLocks/>
              </p:cNvSpPr>
              <p:nvPr/>
            </p:nvSpPr>
            <p:spPr bwMode="auto">
              <a:xfrm>
                <a:off x="1766888" y="4678363"/>
                <a:ext cx="127000" cy="136525"/>
              </a:xfrm>
              <a:custGeom>
                <a:avLst/>
                <a:gdLst>
                  <a:gd name="T0" fmla="*/ 51 w 99"/>
                  <a:gd name="T1" fmla="*/ 21 h 106"/>
                  <a:gd name="T2" fmla="*/ 40 w 99"/>
                  <a:gd name="T3" fmla="*/ 24 h 106"/>
                  <a:gd name="T4" fmla="*/ 33 w 99"/>
                  <a:gd name="T5" fmla="*/ 32 h 106"/>
                  <a:gd name="T6" fmla="*/ 29 w 99"/>
                  <a:gd name="T7" fmla="*/ 42 h 106"/>
                  <a:gd name="T8" fmla="*/ 28 w 99"/>
                  <a:gd name="T9" fmla="*/ 53 h 106"/>
                  <a:gd name="T10" fmla="*/ 29 w 99"/>
                  <a:gd name="T11" fmla="*/ 64 h 106"/>
                  <a:gd name="T12" fmla="*/ 33 w 99"/>
                  <a:gd name="T13" fmla="*/ 75 h 106"/>
                  <a:gd name="T14" fmla="*/ 40 w 99"/>
                  <a:gd name="T15" fmla="*/ 82 h 106"/>
                  <a:gd name="T16" fmla="*/ 51 w 99"/>
                  <a:gd name="T17" fmla="*/ 85 h 106"/>
                  <a:gd name="T18" fmla="*/ 66 w 99"/>
                  <a:gd name="T19" fmla="*/ 79 h 106"/>
                  <a:gd name="T20" fmla="*/ 73 w 99"/>
                  <a:gd name="T21" fmla="*/ 65 h 106"/>
                  <a:gd name="T22" fmla="*/ 99 w 99"/>
                  <a:gd name="T23" fmla="*/ 65 h 106"/>
                  <a:gd name="T24" fmla="*/ 84 w 99"/>
                  <a:gd name="T25" fmla="*/ 95 h 106"/>
                  <a:gd name="T26" fmla="*/ 51 w 99"/>
                  <a:gd name="T27" fmla="*/ 106 h 106"/>
                  <a:gd name="T28" fmla="*/ 30 w 99"/>
                  <a:gd name="T29" fmla="*/ 102 h 106"/>
                  <a:gd name="T30" fmla="*/ 14 w 99"/>
                  <a:gd name="T31" fmla="*/ 91 h 106"/>
                  <a:gd name="T32" fmla="*/ 4 w 99"/>
                  <a:gd name="T33" fmla="*/ 75 h 106"/>
                  <a:gd name="T34" fmla="*/ 0 w 99"/>
                  <a:gd name="T35" fmla="*/ 54 h 106"/>
                  <a:gd name="T36" fmla="*/ 4 w 99"/>
                  <a:gd name="T37" fmla="*/ 33 h 106"/>
                  <a:gd name="T38" fmla="*/ 14 w 99"/>
                  <a:gd name="T39" fmla="*/ 16 h 106"/>
                  <a:gd name="T40" fmla="*/ 30 w 99"/>
                  <a:gd name="T41" fmla="*/ 4 h 106"/>
                  <a:gd name="T42" fmla="*/ 51 w 99"/>
                  <a:gd name="T43" fmla="*/ 0 h 106"/>
                  <a:gd name="T44" fmla="*/ 69 w 99"/>
                  <a:gd name="T45" fmla="*/ 2 h 106"/>
                  <a:gd name="T46" fmla="*/ 83 w 99"/>
                  <a:gd name="T47" fmla="*/ 10 h 106"/>
                  <a:gd name="T48" fmla="*/ 94 w 99"/>
                  <a:gd name="T49" fmla="*/ 21 h 106"/>
                  <a:gd name="T50" fmla="*/ 99 w 99"/>
                  <a:gd name="T51" fmla="*/ 38 h 106"/>
                  <a:gd name="T52" fmla="*/ 72 w 99"/>
                  <a:gd name="T53" fmla="*/ 38 h 106"/>
                  <a:gd name="T54" fmla="*/ 51 w 99"/>
                  <a:gd name="T55"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06">
                    <a:moveTo>
                      <a:pt x="51" y="21"/>
                    </a:moveTo>
                    <a:cubicBezTo>
                      <a:pt x="47" y="21"/>
                      <a:pt x="43" y="22"/>
                      <a:pt x="40" y="24"/>
                    </a:cubicBezTo>
                    <a:cubicBezTo>
                      <a:pt x="37" y="26"/>
                      <a:pt x="35" y="28"/>
                      <a:pt x="33" y="32"/>
                    </a:cubicBezTo>
                    <a:cubicBezTo>
                      <a:pt x="31" y="35"/>
                      <a:pt x="30" y="38"/>
                      <a:pt x="29" y="42"/>
                    </a:cubicBezTo>
                    <a:cubicBezTo>
                      <a:pt x="28" y="46"/>
                      <a:pt x="28" y="50"/>
                      <a:pt x="28" y="53"/>
                    </a:cubicBezTo>
                    <a:cubicBezTo>
                      <a:pt x="28" y="57"/>
                      <a:pt x="28" y="61"/>
                      <a:pt x="29" y="64"/>
                    </a:cubicBezTo>
                    <a:cubicBezTo>
                      <a:pt x="30" y="68"/>
                      <a:pt x="31" y="72"/>
                      <a:pt x="33" y="75"/>
                    </a:cubicBezTo>
                    <a:cubicBezTo>
                      <a:pt x="34" y="78"/>
                      <a:pt x="37" y="80"/>
                      <a:pt x="40" y="82"/>
                    </a:cubicBezTo>
                    <a:cubicBezTo>
                      <a:pt x="43" y="84"/>
                      <a:pt x="46" y="85"/>
                      <a:pt x="51" y="85"/>
                    </a:cubicBezTo>
                    <a:cubicBezTo>
                      <a:pt x="57" y="85"/>
                      <a:pt x="62" y="83"/>
                      <a:pt x="66" y="79"/>
                    </a:cubicBezTo>
                    <a:cubicBezTo>
                      <a:pt x="69" y="76"/>
                      <a:pt x="72" y="71"/>
                      <a:pt x="73" y="65"/>
                    </a:cubicBezTo>
                    <a:cubicBezTo>
                      <a:pt x="99" y="65"/>
                      <a:pt x="99" y="65"/>
                      <a:pt x="99" y="65"/>
                    </a:cubicBezTo>
                    <a:cubicBezTo>
                      <a:pt x="97" y="78"/>
                      <a:pt x="92" y="88"/>
                      <a:pt x="84" y="95"/>
                    </a:cubicBezTo>
                    <a:cubicBezTo>
                      <a:pt x="75" y="102"/>
                      <a:pt x="64" y="106"/>
                      <a:pt x="51" y="106"/>
                    </a:cubicBezTo>
                    <a:cubicBezTo>
                      <a:pt x="43" y="106"/>
                      <a:pt x="36" y="104"/>
                      <a:pt x="30" y="102"/>
                    </a:cubicBezTo>
                    <a:cubicBezTo>
                      <a:pt x="24" y="99"/>
                      <a:pt x="19" y="96"/>
                      <a:pt x="14" y="91"/>
                    </a:cubicBezTo>
                    <a:cubicBezTo>
                      <a:pt x="10" y="87"/>
                      <a:pt x="6" y="81"/>
                      <a:pt x="4" y="75"/>
                    </a:cubicBezTo>
                    <a:cubicBezTo>
                      <a:pt x="2" y="69"/>
                      <a:pt x="0" y="62"/>
                      <a:pt x="0" y="54"/>
                    </a:cubicBezTo>
                    <a:cubicBezTo>
                      <a:pt x="0" y="47"/>
                      <a:pt x="1" y="39"/>
                      <a:pt x="4" y="33"/>
                    </a:cubicBezTo>
                    <a:cubicBezTo>
                      <a:pt x="6" y="26"/>
                      <a:pt x="9" y="20"/>
                      <a:pt x="14" y="16"/>
                    </a:cubicBezTo>
                    <a:cubicBezTo>
                      <a:pt x="18" y="11"/>
                      <a:pt x="23" y="7"/>
                      <a:pt x="30" y="4"/>
                    </a:cubicBezTo>
                    <a:cubicBezTo>
                      <a:pt x="36" y="2"/>
                      <a:pt x="43" y="0"/>
                      <a:pt x="51" y="0"/>
                    </a:cubicBezTo>
                    <a:cubicBezTo>
                      <a:pt x="57" y="0"/>
                      <a:pt x="63" y="1"/>
                      <a:pt x="69" y="2"/>
                    </a:cubicBezTo>
                    <a:cubicBezTo>
                      <a:pt x="74" y="4"/>
                      <a:pt x="79" y="6"/>
                      <a:pt x="83" y="10"/>
                    </a:cubicBezTo>
                    <a:cubicBezTo>
                      <a:pt x="88" y="13"/>
                      <a:pt x="91" y="17"/>
                      <a:pt x="94" y="21"/>
                    </a:cubicBezTo>
                    <a:cubicBezTo>
                      <a:pt x="97" y="26"/>
                      <a:pt x="98" y="32"/>
                      <a:pt x="99" y="38"/>
                    </a:cubicBezTo>
                    <a:cubicBezTo>
                      <a:pt x="72" y="38"/>
                      <a:pt x="72" y="38"/>
                      <a:pt x="72" y="38"/>
                    </a:cubicBezTo>
                    <a:cubicBezTo>
                      <a:pt x="70" y="27"/>
                      <a:pt x="63" y="21"/>
                      <a:pt x="5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8" name="Freeform 29"/>
              <p:cNvSpPr>
                <a:spLocks noEditPoints="1"/>
              </p:cNvSpPr>
              <p:nvPr/>
            </p:nvSpPr>
            <p:spPr bwMode="auto">
              <a:xfrm>
                <a:off x="1903413" y="4678363"/>
                <a:ext cx="130175" cy="136525"/>
              </a:xfrm>
              <a:custGeom>
                <a:avLst/>
                <a:gdLst>
                  <a:gd name="T0" fmla="*/ 35 w 101"/>
                  <a:gd name="T1" fmla="*/ 79 h 106"/>
                  <a:gd name="T2" fmla="*/ 52 w 101"/>
                  <a:gd name="T3" fmla="*/ 85 h 106"/>
                  <a:gd name="T4" fmla="*/ 67 w 101"/>
                  <a:gd name="T5" fmla="*/ 81 h 106"/>
                  <a:gd name="T6" fmla="*/ 74 w 101"/>
                  <a:gd name="T7" fmla="*/ 72 h 106"/>
                  <a:gd name="T8" fmla="*/ 98 w 101"/>
                  <a:gd name="T9" fmla="*/ 72 h 106"/>
                  <a:gd name="T10" fmla="*/ 81 w 101"/>
                  <a:gd name="T11" fmla="*/ 98 h 106"/>
                  <a:gd name="T12" fmla="*/ 51 w 101"/>
                  <a:gd name="T13" fmla="*/ 106 h 106"/>
                  <a:gd name="T14" fmla="*/ 30 w 101"/>
                  <a:gd name="T15" fmla="*/ 102 h 106"/>
                  <a:gd name="T16" fmla="*/ 14 w 101"/>
                  <a:gd name="T17" fmla="*/ 91 h 106"/>
                  <a:gd name="T18" fmla="*/ 4 w 101"/>
                  <a:gd name="T19" fmla="*/ 74 h 106"/>
                  <a:gd name="T20" fmla="*/ 0 w 101"/>
                  <a:gd name="T21" fmla="*/ 53 h 106"/>
                  <a:gd name="T22" fmla="*/ 4 w 101"/>
                  <a:gd name="T23" fmla="*/ 32 h 106"/>
                  <a:gd name="T24" fmla="*/ 14 w 101"/>
                  <a:gd name="T25" fmla="*/ 15 h 106"/>
                  <a:gd name="T26" fmla="*/ 31 w 101"/>
                  <a:gd name="T27" fmla="*/ 4 h 106"/>
                  <a:gd name="T28" fmla="*/ 51 w 101"/>
                  <a:gd name="T29" fmla="*/ 0 h 106"/>
                  <a:gd name="T30" fmla="*/ 74 w 101"/>
                  <a:gd name="T31" fmla="*/ 5 h 106"/>
                  <a:gd name="T32" fmla="*/ 89 w 101"/>
                  <a:gd name="T33" fmla="*/ 18 h 106"/>
                  <a:gd name="T34" fmla="*/ 98 w 101"/>
                  <a:gd name="T35" fmla="*/ 37 h 106"/>
                  <a:gd name="T36" fmla="*/ 100 w 101"/>
                  <a:gd name="T37" fmla="*/ 60 h 106"/>
                  <a:gd name="T38" fmla="*/ 28 w 101"/>
                  <a:gd name="T39" fmla="*/ 60 h 106"/>
                  <a:gd name="T40" fmla="*/ 35 w 101"/>
                  <a:gd name="T41" fmla="*/ 79 h 106"/>
                  <a:gd name="T42" fmla="*/ 66 w 101"/>
                  <a:gd name="T43" fmla="*/ 26 h 106"/>
                  <a:gd name="T44" fmla="*/ 51 w 101"/>
                  <a:gd name="T45" fmla="*/ 21 h 106"/>
                  <a:gd name="T46" fmla="*/ 40 w 101"/>
                  <a:gd name="T47" fmla="*/ 23 h 106"/>
                  <a:gd name="T48" fmla="*/ 33 w 101"/>
                  <a:gd name="T49" fmla="*/ 29 h 106"/>
                  <a:gd name="T50" fmla="*/ 29 w 101"/>
                  <a:gd name="T51" fmla="*/ 36 h 106"/>
                  <a:gd name="T52" fmla="*/ 28 w 101"/>
                  <a:gd name="T53" fmla="*/ 42 h 106"/>
                  <a:gd name="T54" fmla="*/ 73 w 101"/>
                  <a:gd name="T55" fmla="*/ 42 h 106"/>
                  <a:gd name="T56" fmla="*/ 66 w 101"/>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1" h="106">
                    <a:moveTo>
                      <a:pt x="35"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9" y="93"/>
                      <a:pt x="81" y="98"/>
                    </a:cubicBezTo>
                    <a:cubicBezTo>
                      <a:pt x="73" y="103"/>
                      <a:pt x="63" y="106"/>
                      <a:pt x="51" y="106"/>
                    </a:cubicBezTo>
                    <a:cubicBezTo>
                      <a:pt x="44" y="106"/>
                      <a:pt x="36" y="104"/>
                      <a:pt x="30" y="102"/>
                    </a:cubicBezTo>
                    <a:cubicBezTo>
                      <a:pt x="24" y="99"/>
                      <a:pt x="18" y="96"/>
                      <a:pt x="14" y="91"/>
                    </a:cubicBezTo>
                    <a:cubicBezTo>
                      <a:pt x="10" y="86"/>
                      <a:pt x="6" y="81"/>
                      <a:pt x="4" y="74"/>
                    </a:cubicBezTo>
                    <a:cubicBezTo>
                      <a:pt x="2" y="68"/>
                      <a:pt x="0" y="61"/>
                      <a:pt x="0" y="53"/>
                    </a:cubicBezTo>
                    <a:cubicBezTo>
                      <a:pt x="0" y="46"/>
                      <a:pt x="2" y="39"/>
                      <a:pt x="4" y="32"/>
                    </a:cubicBezTo>
                    <a:cubicBezTo>
                      <a:pt x="6" y="26"/>
                      <a:pt x="10" y="20"/>
                      <a:pt x="14" y="15"/>
                    </a:cubicBezTo>
                    <a:cubicBezTo>
                      <a:pt x="19" y="11"/>
                      <a:pt x="24" y="7"/>
                      <a:pt x="31" y="4"/>
                    </a:cubicBezTo>
                    <a:cubicBezTo>
                      <a:pt x="37" y="2"/>
                      <a:pt x="44" y="0"/>
                      <a:pt x="51" y="0"/>
                    </a:cubicBezTo>
                    <a:cubicBezTo>
                      <a:pt x="60" y="0"/>
                      <a:pt x="67" y="2"/>
                      <a:pt x="74" y="5"/>
                    </a:cubicBezTo>
                    <a:cubicBezTo>
                      <a:pt x="80" y="8"/>
                      <a:pt x="85" y="13"/>
                      <a:pt x="89" y="18"/>
                    </a:cubicBezTo>
                    <a:cubicBezTo>
                      <a:pt x="93" y="24"/>
                      <a:pt x="96" y="30"/>
                      <a:pt x="98" y="37"/>
                    </a:cubicBezTo>
                    <a:cubicBezTo>
                      <a:pt x="100" y="44"/>
                      <a:pt x="101" y="52"/>
                      <a:pt x="100" y="60"/>
                    </a:cubicBezTo>
                    <a:cubicBezTo>
                      <a:pt x="28" y="60"/>
                      <a:pt x="28" y="60"/>
                      <a:pt x="28" y="60"/>
                    </a:cubicBezTo>
                    <a:cubicBezTo>
                      <a:pt x="28" y="69"/>
                      <a:pt x="30" y="75"/>
                      <a:pt x="35" y="79"/>
                    </a:cubicBezTo>
                    <a:close/>
                    <a:moveTo>
                      <a:pt x="66" y="26"/>
                    </a:moveTo>
                    <a:cubicBezTo>
                      <a:pt x="62" y="23"/>
                      <a:pt x="57" y="21"/>
                      <a:pt x="51" y="21"/>
                    </a:cubicBezTo>
                    <a:cubicBezTo>
                      <a:pt x="46" y="21"/>
                      <a:pt x="43" y="22"/>
                      <a:pt x="40" y="23"/>
                    </a:cubicBezTo>
                    <a:cubicBezTo>
                      <a:pt x="37" y="25"/>
                      <a:pt x="35" y="26"/>
                      <a:pt x="33" y="29"/>
                    </a:cubicBezTo>
                    <a:cubicBezTo>
                      <a:pt x="31" y="31"/>
                      <a:pt x="30" y="33"/>
                      <a:pt x="29" y="36"/>
                    </a:cubicBezTo>
                    <a:cubicBezTo>
                      <a:pt x="28" y="38"/>
                      <a:pt x="28" y="40"/>
                      <a:pt x="28" y="42"/>
                    </a:cubicBezTo>
                    <a:cubicBezTo>
                      <a:pt x="73" y="42"/>
                      <a:pt x="73" y="42"/>
                      <a:pt x="73" y="42"/>
                    </a:cubicBezTo>
                    <a:cubicBezTo>
                      <a:pt x="71" y="35"/>
                      <a:pt x="69" y="30"/>
                      <a:pt x="6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9" name="Freeform 30"/>
              <p:cNvSpPr>
                <a:spLocks/>
              </p:cNvSpPr>
              <p:nvPr/>
            </p:nvSpPr>
            <p:spPr bwMode="auto">
              <a:xfrm>
                <a:off x="2043113" y="4678363"/>
                <a:ext cx="119063" cy="136525"/>
              </a:xfrm>
              <a:custGeom>
                <a:avLst/>
                <a:gdLst>
                  <a:gd name="T0" fmla="*/ 28 w 93"/>
                  <a:gd name="T1" fmla="*/ 78 h 106"/>
                  <a:gd name="T2" fmla="*/ 33 w 93"/>
                  <a:gd name="T3" fmla="*/ 83 h 106"/>
                  <a:gd name="T4" fmla="*/ 39 w 93"/>
                  <a:gd name="T5" fmla="*/ 86 h 106"/>
                  <a:gd name="T6" fmla="*/ 47 w 93"/>
                  <a:gd name="T7" fmla="*/ 87 h 106"/>
                  <a:gd name="T8" fmla="*/ 53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3 h 106"/>
                  <a:gd name="T26" fmla="*/ 2 w 93"/>
                  <a:gd name="T27" fmla="*/ 32 h 106"/>
                  <a:gd name="T28" fmla="*/ 6 w 93"/>
                  <a:gd name="T29" fmla="*/ 16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1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7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0 h 106"/>
                  <a:gd name="T90" fmla="*/ 26 w 93"/>
                  <a:gd name="T91" fmla="*/ 70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3"/>
                    </a:cubicBezTo>
                    <a:cubicBezTo>
                      <a:pt x="35" y="85"/>
                      <a:pt x="37" y="86"/>
                      <a:pt x="39" y="86"/>
                    </a:cubicBezTo>
                    <a:cubicBezTo>
                      <a:pt x="42" y="87"/>
                      <a:pt x="45" y="87"/>
                      <a:pt x="47" y="87"/>
                    </a:cubicBezTo>
                    <a:cubicBezTo>
                      <a:pt x="49" y="87"/>
                      <a:pt x="51" y="87"/>
                      <a:pt x="53" y="87"/>
                    </a:cubicBezTo>
                    <a:cubicBezTo>
                      <a:pt x="56" y="86"/>
                      <a:pt x="57" y="85"/>
                      <a:pt x="59" y="85"/>
                    </a:cubicBezTo>
                    <a:cubicBezTo>
                      <a:pt x="61" y="84"/>
                      <a:pt x="62" y="82"/>
                      <a:pt x="64" y="81"/>
                    </a:cubicBezTo>
                    <a:cubicBezTo>
                      <a:pt x="65" y="79"/>
                      <a:pt x="65" y="77"/>
                      <a:pt x="65" y="75"/>
                    </a:cubicBezTo>
                    <a:cubicBezTo>
                      <a:pt x="65" y="70"/>
                      <a:pt x="63" y="67"/>
                      <a:pt x="57" y="65"/>
                    </a:cubicBezTo>
                    <a:cubicBezTo>
                      <a:pt x="52" y="63"/>
                      <a:pt x="44" y="61"/>
                      <a:pt x="34" y="59"/>
                    </a:cubicBezTo>
                    <a:cubicBezTo>
                      <a:pt x="30" y="58"/>
                      <a:pt x="26" y="57"/>
                      <a:pt x="22" y="56"/>
                    </a:cubicBezTo>
                    <a:cubicBezTo>
                      <a:pt x="19" y="55"/>
                      <a:pt x="15" y="53"/>
                      <a:pt x="12" y="51"/>
                    </a:cubicBezTo>
                    <a:cubicBezTo>
                      <a:pt x="9" y="49"/>
                      <a:pt x="7" y="46"/>
                      <a:pt x="5" y="43"/>
                    </a:cubicBezTo>
                    <a:cubicBezTo>
                      <a:pt x="3" y="40"/>
                      <a:pt x="2" y="37"/>
                      <a:pt x="2" y="32"/>
                    </a:cubicBezTo>
                    <a:cubicBezTo>
                      <a:pt x="2" y="26"/>
                      <a:pt x="4" y="21"/>
                      <a:pt x="6" y="16"/>
                    </a:cubicBezTo>
                    <a:cubicBezTo>
                      <a:pt x="9" y="12"/>
                      <a:pt x="12" y="9"/>
                      <a:pt x="16" y="7"/>
                    </a:cubicBezTo>
                    <a:cubicBezTo>
                      <a:pt x="20" y="4"/>
                      <a:pt x="25" y="3"/>
                      <a:pt x="30" y="2"/>
                    </a:cubicBezTo>
                    <a:cubicBezTo>
                      <a:pt x="35" y="1"/>
                      <a:pt x="41" y="0"/>
                      <a:pt x="46" y="0"/>
                    </a:cubicBezTo>
                    <a:cubicBezTo>
                      <a:pt x="51" y="0"/>
                      <a:pt x="57" y="1"/>
                      <a:pt x="62" y="2"/>
                    </a:cubicBezTo>
                    <a:cubicBezTo>
                      <a:pt x="67" y="3"/>
                      <a:pt x="71" y="4"/>
                      <a:pt x="75" y="7"/>
                    </a:cubicBezTo>
                    <a:cubicBezTo>
                      <a:pt x="79" y="9"/>
                      <a:pt x="83" y="13"/>
                      <a:pt x="85" y="17"/>
                    </a:cubicBezTo>
                    <a:cubicBezTo>
                      <a:pt x="88" y="21"/>
                      <a:pt x="90" y="26"/>
                      <a:pt x="90" y="32"/>
                    </a:cubicBezTo>
                    <a:cubicBezTo>
                      <a:pt x="64" y="32"/>
                      <a:pt x="64" y="32"/>
                      <a:pt x="64" y="32"/>
                    </a:cubicBezTo>
                    <a:cubicBezTo>
                      <a:pt x="64" y="27"/>
                      <a:pt x="62" y="23"/>
                      <a:pt x="58" y="21"/>
                    </a:cubicBezTo>
                    <a:cubicBezTo>
                      <a:pt x="54" y="20"/>
                      <a:pt x="50" y="19"/>
                      <a:pt x="45" y="19"/>
                    </a:cubicBezTo>
                    <a:cubicBezTo>
                      <a:pt x="44" y="19"/>
                      <a:pt x="42" y="19"/>
                      <a:pt x="40" y="19"/>
                    </a:cubicBezTo>
                    <a:cubicBezTo>
                      <a:pt x="38" y="19"/>
                      <a:pt x="37" y="19"/>
                      <a:pt x="35" y="20"/>
                    </a:cubicBezTo>
                    <a:cubicBezTo>
                      <a:pt x="34" y="21"/>
                      <a:pt x="32" y="22"/>
                      <a:pt x="31" y="23"/>
                    </a:cubicBezTo>
                    <a:cubicBezTo>
                      <a:pt x="30" y="24"/>
                      <a:pt x="30" y="26"/>
                      <a:pt x="30" y="28"/>
                    </a:cubicBezTo>
                    <a:cubicBezTo>
                      <a:pt x="30" y="30"/>
                      <a:pt x="31" y="32"/>
                      <a:pt x="33" y="34"/>
                    </a:cubicBezTo>
                    <a:cubicBezTo>
                      <a:pt x="34" y="35"/>
                      <a:pt x="37" y="37"/>
                      <a:pt x="40" y="38"/>
                    </a:cubicBezTo>
                    <a:cubicBezTo>
                      <a:pt x="43" y="39"/>
                      <a:pt x="46" y="39"/>
                      <a:pt x="50" y="40"/>
                    </a:cubicBezTo>
                    <a:cubicBezTo>
                      <a:pt x="53" y="41"/>
                      <a:pt x="57" y="42"/>
                      <a:pt x="61" y="43"/>
                    </a:cubicBezTo>
                    <a:cubicBezTo>
                      <a:pt x="65" y="44"/>
                      <a:pt x="69" y="45"/>
                      <a:pt x="73" y="46"/>
                    </a:cubicBezTo>
                    <a:cubicBezTo>
                      <a:pt x="77" y="47"/>
                      <a:pt x="80" y="49"/>
                      <a:pt x="83" y="51"/>
                    </a:cubicBezTo>
                    <a:cubicBezTo>
                      <a:pt x="86" y="53"/>
                      <a:pt x="88" y="56"/>
                      <a:pt x="90" y="59"/>
                    </a:cubicBezTo>
                    <a:cubicBezTo>
                      <a:pt x="92" y="62"/>
                      <a:pt x="93" y="66"/>
                      <a:pt x="93" y="71"/>
                    </a:cubicBezTo>
                    <a:cubicBezTo>
                      <a:pt x="93" y="77"/>
                      <a:pt x="91" y="83"/>
                      <a:pt x="89" y="87"/>
                    </a:cubicBezTo>
                    <a:cubicBezTo>
                      <a:pt x="86" y="92"/>
                      <a:pt x="83" y="95"/>
                      <a:pt x="78" y="98"/>
                    </a:cubicBezTo>
                    <a:cubicBezTo>
                      <a:pt x="74" y="101"/>
                      <a:pt x="69" y="103"/>
                      <a:pt x="64" y="104"/>
                    </a:cubicBezTo>
                    <a:cubicBezTo>
                      <a:pt x="58" y="105"/>
                      <a:pt x="53" y="106"/>
                      <a:pt x="47" y="106"/>
                    </a:cubicBezTo>
                    <a:cubicBezTo>
                      <a:pt x="41" y="106"/>
                      <a:pt x="36" y="105"/>
                      <a:pt x="30" y="104"/>
                    </a:cubicBezTo>
                    <a:cubicBezTo>
                      <a:pt x="25" y="103"/>
                      <a:pt x="20" y="101"/>
                      <a:pt x="15" y="98"/>
                    </a:cubicBezTo>
                    <a:cubicBezTo>
                      <a:pt x="11" y="95"/>
                      <a:pt x="7" y="92"/>
                      <a:pt x="5" y="87"/>
                    </a:cubicBezTo>
                    <a:cubicBezTo>
                      <a:pt x="2" y="83"/>
                      <a:pt x="0" y="77"/>
                      <a:pt x="0" y="70"/>
                    </a:cubicBezTo>
                    <a:cubicBezTo>
                      <a:pt x="26" y="70"/>
                      <a:pt x="26" y="70"/>
                      <a:pt x="26" y="70"/>
                    </a:cubicBezTo>
                    <a:cubicBezTo>
                      <a:pt x="26" y="73"/>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grpSp>
      </p:grpSp>
    </p:spTree>
    <p:extLst>
      <p:ext uri="{BB962C8B-B14F-4D97-AF65-F5344CB8AC3E}">
        <p14:creationId xmlns:p14="http://schemas.microsoft.com/office/powerpoint/2010/main" val="1989335140"/>
      </p:ext>
    </p:extLst>
  </p:cSld>
  <p:clrMapOvr>
    <a:masterClrMapping/>
  </p:clrMapOvr>
  <p:transition spd="med">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3" y="357720"/>
            <a:ext cx="6437997" cy="3069165"/>
          </a:xfrm>
        </p:spPr>
        <p:txBody>
          <a:bodyPr>
            <a:noAutofit/>
          </a:bodyPr>
          <a:lstStyle>
            <a:lvl1pPr algn="l">
              <a:lnSpc>
                <a:spcPct val="85000"/>
              </a:lnSpc>
              <a:defRPr sz="7333" baseline="0">
                <a:solidFill>
                  <a:schemeClr val="tx1"/>
                </a:solidFill>
              </a:defRPr>
            </a:lvl1pPr>
          </a:lstStyle>
          <a:p>
            <a:r>
              <a:rPr lang="fr-FR" noProof="0"/>
              <a:t>Cliquez pour modifier le titre</a:t>
            </a:r>
          </a:p>
        </p:txBody>
      </p:sp>
      <p:sp>
        <p:nvSpPr>
          <p:cNvPr id="17" name="Text Placeholder 17"/>
          <p:cNvSpPr>
            <a:spLocks noGrp="1"/>
          </p:cNvSpPr>
          <p:nvPr>
            <p:ph type="body" sz="quarter" idx="16" hasCustomPrompt="1"/>
          </p:nvPr>
        </p:nvSpPr>
        <p:spPr>
          <a:xfrm>
            <a:off x="7734300" y="355603"/>
            <a:ext cx="4038600" cy="4538133"/>
          </a:xfrm>
        </p:spPr>
        <p:txBody>
          <a:bodyPr/>
          <a:lstStyle>
            <a:lvl1pPr>
              <a:defRPr/>
            </a:lvl1pPr>
          </a:lstStyle>
          <a:p>
            <a:pPr lvl="0"/>
            <a:r>
              <a:rPr lang="fr-FR" noProof="0"/>
              <a:t>Cliquez pour modifier le texte</a:t>
            </a:r>
          </a:p>
          <a:p>
            <a:pPr lvl="1"/>
            <a:r>
              <a:rPr lang="fr-FR" noProof="0"/>
              <a:t>Deuxième niveau</a:t>
            </a:r>
          </a:p>
        </p:txBody>
      </p:sp>
      <p:sp>
        <p:nvSpPr>
          <p:cNvPr id="42" name="Subtitle 2"/>
          <p:cNvSpPr>
            <a:spLocks noGrp="1"/>
          </p:cNvSpPr>
          <p:nvPr>
            <p:ph type="subTitle" idx="1" hasCustomPrompt="1"/>
          </p:nvPr>
        </p:nvSpPr>
        <p:spPr>
          <a:xfrm>
            <a:off x="414251" y="3605525"/>
            <a:ext cx="6441580" cy="1288208"/>
          </a:xfrm>
        </p:spPr>
        <p:txBody>
          <a:bodyPr/>
          <a:lstStyle>
            <a:lvl1pPr marL="0" indent="0" algn="l">
              <a:buNone/>
              <a:defRPr baseline="0">
                <a:solidFill>
                  <a:schemeClr val="tx1"/>
                </a:solidFill>
              </a:defRPr>
            </a:lvl1pPr>
            <a:lvl2pPr marL="241289" indent="-241289" algn="l">
              <a:buClr>
                <a:schemeClr val="bg2"/>
              </a:buClr>
              <a:buSzPct val="100000"/>
              <a:buFont typeface="Wingdings" panose="05000000000000000000" pitchFamily="2" charset="2"/>
              <a:buChar char="§"/>
              <a:defRPr>
                <a:solidFill>
                  <a:schemeClr val="tx1"/>
                </a:solidFill>
              </a:defRPr>
            </a:lvl2pPr>
            <a:lvl3pPr marL="542373" indent="-254388"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60" indent="-230389" algn="l">
              <a:spcBef>
                <a:spcPts val="32"/>
              </a:spcBef>
              <a:buFont typeface="Helvetica 55 Roman" panose="020B0604020202020204" pitchFamily="34" charset="0"/>
              <a:buChar char="–"/>
              <a:defRPr>
                <a:solidFill>
                  <a:schemeClr val="tx1"/>
                </a:solidFill>
              </a:defRPr>
            </a:lvl4pPr>
            <a:lvl5pPr marL="1065547" indent="-254388" algn="l">
              <a:buFont typeface="Helvetica 55 Roman" panose="020B0604020202020204" pitchFamily="34" charset="0"/>
              <a:buChar char="–"/>
              <a:defRPr>
                <a:solidFill>
                  <a:schemeClr val="tx1"/>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fr-FR"/>
              <a:t>Cliquez pour modifier le nom du présentateur</a:t>
            </a:r>
          </a:p>
        </p:txBody>
      </p:sp>
      <p:grpSp>
        <p:nvGrpSpPr>
          <p:cNvPr id="3" name="Group 2"/>
          <p:cNvGrpSpPr/>
          <p:nvPr/>
        </p:nvGrpSpPr>
        <p:grpSpPr>
          <a:xfrm>
            <a:off x="418049" y="5645153"/>
            <a:ext cx="817033" cy="817033"/>
            <a:chOff x="313535" y="4233863"/>
            <a:chExt cx="612775" cy="612775"/>
          </a:xfrm>
        </p:grpSpPr>
        <p:sp>
          <p:nvSpPr>
            <p:cNvPr id="43" name="Rectangle 5"/>
            <p:cNvSpPr>
              <a:spLocks noChangeArrowheads="1"/>
            </p:cNvSpPr>
            <p:nvPr/>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4" name="Freeform 6"/>
            <p:cNvSpPr>
              <a:spLocks noEditPoints="1"/>
            </p:cNvSpPr>
            <p:nvPr/>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5" name="Freeform 7"/>
            <p:cNvSpPr>
              <a:spLocks/>
            </p:cNvSpPr>
            <p:nvPr/>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6" name="Freeform 8"/>
            <p:cNvSpPr>
              <a:spLocks noEditPoints="1"/>
            </p:cNvSpPr>
            <p:nvPr/>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7" name="Freeform 9"/>
            <p:cNvSpPr>
              <a:spLocks noEditPoints="1"/>
            </p:cNvSpPr>
            <p:nvPr/>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8" name="Freeform 10"/>
            <p:cNvSpPr>
              <a:spLocks/>
            </p:cNvSpPr>
            <p:nvPr/>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9" name="Freeform 11"/>
            <p:cNvSpPr>
              <a:spLocks noEditPoints="1"/>
            </p:cNvSpPr>
            <p:nvPr/>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50" name="Freeform 12"/>
            <p:cNvSpPr>
              <a:spLocks noEditPoints="1"/>
            </p:cNvSpPr>
            <p:nvPr/>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Tree>
    <p:extLst>
      <p:ext uri="{BB962C8B-B14F-4D97-AF65-F5344CB8AC3E}">
        <p14:creationId xmlns:p14="http://schemas.microsoft.com/office/powerpoint/2010/main" val="4157410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8/11/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27311836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ire de la présentatio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2970" y="452968"/>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a:t>Cliquez pour modifier les styles du texte du masque</a:t>
            </a:r>
          </a:p>
          <a:p>
            <a:pPr lvl="1"/>
            <a:r>
              <a:rPr lang="fr-FR"/>
              <a:t>Deuxième niveau</a:t>
            </a:r>
          </a:p>
        </p:txBody>
      </p:sp>
      <p:sp>
        <p:nvSpPr>
          <p:cNvPr id="3" name="Text Placeholder 2"/>
          <p:cNvSpPr>
            <a:spLocks noGrp="1"/>
          </p:cNvSpPr>
          <p:nvPr>
            <p:ph type="body" sz="quarter" idx="12"/>
          </p:nvPr>
        </p:nvSpPr>
        <p:spPr>
          <a:xfrm>
            <a:off x="8678337" y="452968"/>
            <a:ext cx="3069167" cy="4614333"/>
          </a:xfrm>
        </p:spPr>
        <p:txBody>
          <a:bodyPr tIns="109728"/>
          <a:lstStyle>
            <a:lvl1pPr>
              <a:spcAft>
                <a:spcPts val="3200"/>
              </a:spcAft>
              <a:defRPr>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a:t>Cliquez pour modifier les styles du texte du masque</a:t>
            </a:r>
          </a:p>
          <a:p>
            <a:pPr lvl="1"/>
            <a:r>
              <a:rPr lang="fr-FR"/>
              <a:t>Deuxième niveau</a:t>
            </a:r>
          </a:p>
        </p:txBody>
      </p:sp>
      <p:grpSp>
        <p:nvGrpSpPr>
          <p:cNvPr id="2" name="Group 1"/>
          <p:cNvGrpSpPr/>
          <p:nvPr/>
        </p:nvGrpSpPr>
        <p:grpSpPr>
          <a:xfrm>
            <a:off x="452967" y="5509687"/>
            <a:ext cx="2497668" cy="910167"/>
            <a:chOff x="339725" y="4132263"/>
            <a:chExt cx="1873251" cy="682625"/>
          </a:xfrm>
        </p:grpSpPr>
        <p:grpSp>
          <p:nvGrpSpPr>
            <p:cNvPr id="34" name="Group 33"/>
            <p:cNvGrpSpPr/>
            <p:nvPr/>
          </p:nvGrpSpPr>
          <p:grpSpPr>
            <a:xfrm>
              <a:off x="339725" y="4132263"/>
              <a:ext cx="674688" cy="677863"/>
              <a:chOff x="339725" y="4132263"/>
              <a:chExt cx="674688" cy="677863"/>
            </a:xfrm>
          </p:grpSpPr>
          <p:sp>
            <p:nvSpPr>
              <p:cNvPr id="80" name="Rectangle 7"/>
              <p:cNvSpPr>
                <a:spLocks noChangeArrowheads="1"/>
              </p:cNvSpPr>
              <p:nvPr/>
            </p:nvSpPr>
            <p:spPr bwMode="auto">
              <a:xfrm>
                <a:off x="339725" y="4132263"/>
                <a:ext cx="674688" cy="677863"/>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1" name="Freeform 8"/>
              <p:cNvSpPr>
                <a:spLocks noEditPoints="1"/>
              </p:cNvSpPr>
              <p:nvPr/>
            </p:nvSpPr>
            <p:spPr bwMode="auto">
              <a:xfrm>
                <a:off x="546100" y="4656138"/>
                <a:ext cx="82550" cy="98425"/>
              </a:xfrm>
              <a:custGeom>
                <a:avLst/>
                <a:gdLst>
                  <a:gd name="T0" fmla="*/ 46 w 65"/>
                  <a:gd name="T1" fmla="*/ 69 h 76"/>
                  <a:gd name="T2" fmla="*/ 22 w 65"/>
                  <a:gd name="T3" fmla="*/ 76 h 76"/>
                  <a:gd name="T4" fmla="*/ 0 w 65"/>
                  <a:gd name="T5" fmla="*/ 55 h 76"/>
                  <a:gd name="T6" fmla="*/ 46 w 65"/>
                  <a:gd name="T7" fmla="*/ 26 h 76"/>
                  <a:gd name="T8" fmla="*/ 46 w 65"/>
                  <a:gd name="T9" fmla="*/ 22 h 76"/>
                  <a:gd name="T10" fmla="*/ 35 w 65"/>
                  <a:gd name="T11" fmla="*/ 14 h 76"/>
                  <a:gd name="T12" fmla="*/ 17 w 65"/>
                  <a:gd name="T13" fmla="*/ 22 h 76"/>
                  <a:gd name="T14" fmla="*/ 4 w 65"/>
                  <a:gd name="T15" fmla="*/ 15 h 76"/>
                  <a:gd name="T16" fmla="*/ 35 w 65"/>
                  <a:gd name="T17" fmla="*/ 0 h 76"/>
                  <a:gd name="T18" fmla="*/ 65 w 65"/>
                  <a:gd name="T19" fmla="*/ 22 h 76"/>
                  <a:gd name="T20" fmla="*/ 65 w 65"/>
                  <a:gd name="T21" fmla="*/ 75 h 76"/>
                  <a:gd name="T22" fmla="*/ 48 w 65"/>
                  <a:gd name="T23" fmla="*/ 75 h 76"/>
                  <a:gd name="T24" fmla="*/ 46 w 65"/>
                  <a:gd name="T25" fmla="*/ 69 h 76"/>
                  <a:gd name="T26" fmla="*/ 19 w 65"/>
                  <a:gd name="T27" fmla="*/ 53 h 76"/>
                  <a:gd name="T28" fmla="*/ 28 w 65"/>
                  <a:gd name="T29" fmla="*/ 63 h 76"/>
                  <a:gd name="T30" fmla="*/ 45 w 65"/>
                  <a:gd name="T31" fmla="*/ 55 h 76"/>
                  <a:gd name="T32" fmla="*/ 45 w 65"/>
                  <a:gd name="T33" fmla="*/ 38 h 76"/>
                  <a:gd name="T34" fmla="*/ 19 w 65"/>
                  <a:gd name="T35" fmla="*/ 5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76">
                    <a:moveTo>
                      <a:pt x="46" y="69"/>
                    </a:moveTo>
                    <a:cubicBezTo>
                      <a:pt x="38" y="73"/>
                      <a:pt x="30" y="76"/>
                      <a:pt x="22" y="76"/>
                    </a:cubicBezTo>
                    <a:cubicBezTo>
                      <a:pt x="8" y="76"/>
                      <a:pt x="0" y="67"/>
                      <a:pt x="0" y="55"/>
                    </a:cubicBezTo>
                    <a:cubicBezTo>
                      <a:pt x="0" y="38"/>
                      <a:pt x="15" y="29"/>
                      <a:pt x="46" y="26"/>
                    </a:cubicBezTo>
                    <a:cubicBezTo>
                      <a:pt x="46" y="22"/>
                      <a:pt x="46" y="22"/>
                      <a:pt x="46" y="22"/>
                    </a:cubicBezTo>
                    <a:cubicBezTo>
                      <a:pt x="46" y="17"/>
                      <a:pt x="42" y="14"/>
                      <a:pt x="35" y="14"/>
                    </a:cubicBezTo>
                    <a:cubicBezTo>
                      <a:pt x="27" y="14"/>
                      <a:pt x="21" y="16"/>
                      <a:pt x="17" y="22"/>
                    </a:cubicBezTo>
                    <a:cubicBezTo>
                      <a:pt x="4" y="15"/>
                      <a:pt x="4" y="15"/>
                      <a:pt x="4" y="15"/>
                    </a:cubicBezTo>
                    <a:cubicBezTo>
                      <a:pt x="11" y="5"/>
                      <a:pt x="21" y="0"/>
                      <a:pt x="35" y="0"/>
                    </a:cubicBezTo>
                    <a:cubicBezTo>
                      <a:pt x="54" y="0"/>
                      <a:pt x="65" y="8"/>
                      <a:pt x="65" y="22"/>
                    </a:cubicBezTo>
                    <a:cubicBezTo>
                      <a:pt x="65" y="22"/>
                      <a:pt x="65" y="75"/>
                      <a:pt x="65" y="75"/>
                    </a:cubicBezTo>
                    <a:cubicBezTo>
                      <a:pt x="48" y="75"/>
                      <a:pt x="48" y="75"/>
                      <a:pt x="48" y="75"/>
                    </a:cubicBezTo>
                    <a:lnTo>
                      <a:pt x="46" y="69"/>
                    </a:lnTo>
                    <a:close/>
                    <a:moveTo>
                      <a:pt x="19" y="53"/>
                    </a:moveTo>
                    <a:cubicBezTo>
                      <a:pt x="19" y="58"/>
                      <a:pt x="22" y="63"/>
                      <a:pt x="28" y="63"/>
                    </a:cubicBezTo>
                    <a:cubicBezTo>
                      <a:pt x="34" y="63"/>
                      <a:pt x="40" y="60"/>
                      <a:pt x="45" y="55"/>
                    </a:cubicBezTo>
                    <a:cubicBezTo>
                      <a:pt x="45" y="38"/>
                      <a:pt x="45" y="38"/>
                      <a:pt x="45" y="38"/>
                    </a:cubicBezTo>
                    <a:cubicBezTo>
                      <a:pt x="27" y="40"/>
                      <a:pt x="19" y="44"/>
                      <a:pt x="19"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2" name="Freeform 9"/>
              <p:cNvSpPr>
                <a:spLocks/>
              </p:cNvSpPr>
              <p:nvPr/>
            </p:nvSpPr>
            <p:spPr bwMode="auto">
              <a:xfrm>
                <a:off x="647700" y="4656138"/>
                <a:ext cx="85725" cy="96838"/>
              </a:xfrm>
              <a:custGeom>
                <a:avLst/>
                <a:gdLst>
                  <a:gd name="T0" fmla="*/ 0 w 66"/>
                  <a:gd name="T1" fmla="*/ 4 h 75"/>
                  <a:gd name="T2" fmla="*/ 16 w 66"/>
                  <a:gd name="T3" fmla="*/ 2 h 75"/>
                  <a:gd name="T4" fmla="*/ 18 w 66"/>
                  <a:gd name="T5" fmla="*/ 10 h 75"/>
                  <a:gd name="T6" fmla="*/ 43 w 66"/>
                  <a:gd name="T7" fmla="*/ 0 h 75"/>
                  <a:gd name="T8" fmla="*/ 66 w 66"/>
                  <a:gd name="T9" fmla="*/ 24 h 75"/>
                  <a:gd name="T10" fmla="*/ 66 w 66"/>
                  <a:gd name="T11" fmla="*/ 75 h 75"/>
                  <a:gd name="T12" fmla="*/ 46 w 66"/>
                  <a:gd name="T13" fmla="*/ 75 h 75"/>
                  <a:gd name="T14" fmla="*/ 46 w 66"/>
                  <a:gd name="T15" fmla="*/ 27 h 75"/>
                  <a:gd name="T16" fmla="*/ 37 w 66"/>
                  <a:gd name="T17" fmla="*/ 14 h 75"/>
                  <a:gd name="T18" fmla="*/ 19 w 66"/>
                  <a:gd name="T19" fmla="*/ 22 h 75"/>
                  <a:gd name="T20" fmla="*/ 19 w 66"/>
                  <a:gd name="T21" fmla="*/ 75 h 75"/>
                  <a:gd name="T22" fmla="*/ 0 w 66"/>
                  <a:gd name="T23" fmla="*/ 75 h 75"/>
                  <a:gd name="T24" fmla="*/ 0 w 66"/>
                  <a:gd name="T25" fmla="*/ 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5">
                    <a:moveTo>
                      <a:pt x="0" y="4"/>
                    </a:moveTo>
                    <a:cubicBezTo>
                      <a:pt x="16" y="2"/>
                      <a:pt x="16" y="2"/>
                      <a:pt x="16" y="2"/>
                    </a:cubicBezTo>
                    <a:cubicBezTo>
                      <a:pt x="18" y="10"/>
                      <a:pt x="18" y="10"/>
                      <a:pt x="18" y="10"/>
                    </a:cubicBezTo>
                    <a:cubicBezTo>
                      <a:pt x="27" y="4"/>
                      <a:pt x="34" y="0"/>
                      <a:pt x="43" y="0"/>
                    </a:cubicBezTo>
                    <a:cubicBezTo>
                      <a:pt x="58" y="0"/>
                      <a:pt x="66" y="8"/>
                      <a:pt x="66" y="24"/>
                    </a:cubicBezTo>
                    <a:cubicBezTo>
                      <a:pt x="66" y="75"/>
                      <a:pt x="66" y="75"/>
                      <a:pt x="66" y="75"/>
                    </a:cubicBezTo>
                    <a:cubicBezTo>
                      <a:pt x="46" y="75"/>
                      <a:pt x="46" y="75"/>
                      <a:pt x="46" y="75"/>
                    </a:cubicBezTo>
                    <a:cubicBezTo>
                      <a:pt x="46" y="27"/>
                      <a:pt x="46" y="27"/>
                      <a:pt x="46" y="27"/>
                    </a:cubicBezTo>
                    <a:cubicBezTo>
                      <a:pt x="46" y="18"/>
                      <a:pt x="44" y="14"/>
                      <a:pt x="37" y="14"/>
                    </a:cubicBezTo>
                    <a:cubicBezTo>
                      <a:pt x="31" y="14"/>
                      <a:pt x="26" y="17"/>
                      <a:pt x="19" y="22"/>
                    </a:cubicBezTo>
                    <a:cubicBezTo>
                      <a:pt x="19" y="75"/>
                      <a:pt x="19" y="75"/>
                      <a:pt x="19" y="75"/>
                    </a:cubicBezTo>
                    <a:cubicBezTo>
                      <a:pt x="0" y="75"/>
                      <a:pt x="0" y="75"/>
                      <a:pt x="0" y="75"/>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3" name="Freeform 10"/>
              <p:cNvSpPr>
                <a:spLocks noEditPoints="1"/>
              </p:cNvSpPr>
              <p:nvPr/>
            </p:nvSpPr>
            <p:spPr bwMode="auto">
              <a:xfrm>
                <a:off x="852488" y="4656138"/>
                <a:ext cx="87313" cy="98425"/>
              </a:xfrm>
              <a:custGeom>
                <a:avLst/>
                <a:gdLst>
                  <a:gd name="T0" fmla="*/ 34 w 67"/>
                  <a:gd name="T1" fmla="*/ 76 h 76"/>
                  <a:gd name="T2" fmla="*/ 0 w 67"/>
                  <a:gd name="T3" fmla="*/ 38 h 76"/>
                  <a:gd name="T4" fmla="*/ 34 w 67"/>
                  <a:gd name="T5" fmla="*/ 0 h 76"/>
                  <a:gd name="T6" fmla="*/ 67 w 67"/>
                  <a:gd name="T7" fmla="*/ 37 h 76"/>
                  <a:gd name="T8" fmla="*/ 67 w 67"/>
                  <a:gd name="T9" fmla="*/ 41 h 76"/>
                  <a:gd name="T10" fmla="*/ 19 w 67"/>
                  <a:gd name="T11" fmla="*/ 41 h 76"/>
                  <a:gd name="T12" fmla="*/ 36 w 67"/>
                  <a:gd name="T13" fmla="*/ 62 h 76"/>
                  <a:gd name="T14" fmla="*/ 52 w 67"/>
                  <a:gd name="T15" fmla="*/ 53 h 76"/>
                  <a:gd name="T16" fmla="*/ 67 w 67"/>
                  <a:gd name="T17" fmla="*/ 60 h 76"/>
                  <a:gd name="T18" fmla="*/ 34 w 67"/>
                  <a:gd name="T19" fmla="*/ 76 h 76"/>
                  <a:gd name="T20" fmla="*/ 49 w 67"/>
                  <a:gd name="T21" fmla="*/ 29 h 76"/>
                  <a:gd name="T22" fmla="*/ 34 w 67"/>
                  <a:gd name="T23" fmla="*/ 13 h 76"/>
                  <a:gd name="T24" fmla="*/ 19 w 67"/>
                  <a:gd name="T25" fmla="*/ 29 h 76"/>
                  <a:gd name="T26" fmla="*/ 49 w 67"/>
                  <a:gd name="T27" fmla="*/ 2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76">
                    <a:moveTo>
                      <a:pt x="34" y="76"/>
                    </a:moveTo>
                    <a:cubicBezTo>
                      <a:pt x="13" y="76"/>
                      <a:pt x="0" y="62"/>
                      <a:pt x="0" y="38"/>
                    </a:cubicBezTo>
                    <a:cubicBezTo>
                      <a:pt x="0" y="14"/>
                      <a:pt x="13" y="0"/>
                      <a:pt x="34" y="0"/>
                    </a:cubicBezTo>
                    <a:cubicBezTo>
                      <a:pt x="55" y="0"/>
                      <a:pt x="67" y="14"/>
                      <a:pt x="67" y="37"/>
                    </a:cubicBezTo>
                    <a:cubicBezTo>
                      <a:pt x="67" y="39"/>
                      <a:pt x="67" y="40"/>
                      <a:pt x="67" y="41"/>
                    </a:cubicBezTo>
                    <a:cubicBezTo>
                      <a:pt x="19" y="41"/>
                      <a:pt x="19" y="41"/>
                      <a:pt x="19" y="41"/>
                    </a:cubicBezTo>
                    <a:cubicBezTo>
                      <a:pt x="19" y="55"/>
                      <a:pt x="24" y="62"/>
                      <a:pt x="36" y="62"/>
                    </a:cubicBezTo>
                    <a:cubicBezTo>
                      <a:pt x="43" y="62"/>
                      <a:pt x="48" y="59"/>
                      <a:pt x="52" y="53"/>
                    </a:cubicBezTo>
                    <a:cubicBezTo>
                      <a:pt x="67" y="60"/>
                      <a:pt x="67" y="60"/>
                      <a:pt x="67" y="60"/>
                    </a:cubicBezTo>
                    <a:cubicBezTo>
                      <a:pt x="60" y="71"/>
                      <a:pt x="49" y="76"/>
                      <a:pt x="34" y="76"/>
                    </a:cubicBezTo>
                    <a:close/>
                    <a:moveTo>
                      <a:pt x="49" y="29"/>
                    </a:moveTo>
                    <a:cubicBezTo>
                      <a:pt x="49" y="19"/>
                      <a:pt x="43" y="13"/>
                      <a:pt x="34" y="13"/>
                    </a:cubicBezTo>
                    <a:cubicBezTo>
                      <a:pt x="25" y="13"/>
                      <a:pt x="20" y="19"/>
                      <a:pt x="19" y="29"/>
                    </a:cubicBezTo>
                    <a:lnTo>
                      <a:pt x="4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4" name="Freeform 11"/>
              <p:cNvSpPr>
                <a:spLocks noEditPoints="1"/>
              </p:cNvSpPr>
              <p:nvPr/>
            </p:nvSpPr>
            <p:spPr bwMode="auto">
              <a:xfrm>
                <a:off x="376238" y="4656138"/>
                <a:ext cx="93663" cy="100013"/>
              </a:xfrm>
              <a:custGeom>
                <a:avLst/>
                <a:gdLst>
                  <a:gd name="T0" fmla="*/ 36 w 73"/>
                  <a:gd name="T1" fmla="*/ 77 h 77"/>
                  <a:gd name="T2" fmla="*/ 0 w 73"/>
                  <a:gd name="T3" fmla="*/ 38 h 77"/>
                  <a:gd name="T4" fmla="*/ 36 w 73"/>
                  <a:gd name="T5" fmla="*/ 0 h 77"/>
                  <a:gd name="T6" fmla="*/ 73 w 73"/>
                  <a:gd name="T7" fmla="*/ 38 h 77"/>
                  <a:gd name="T8" fmla="*/ 36 w 73"/>
                  <a:gd name="T9" fmla="*/ 77 h 77"/>
                  <a:gd name="T10" fmla="*/ 36 w 73"/>
                  <a:gd name="T11" fmla="*/ 16 h 77"/>
                  <a:gd name="T12" fmla="*/ 19 w 73"/>
                  <a:gd name="T13" fmla="*/ 38 h 77"/>
                  <a:gd name="T14" fmla="*/ 36 w 73"/>
                  <a:gd name="T15" fmla="*/ 61 h 77"/>
                  <a:gd name="T16" fmla="*/ 53 w 73"/>
                  <a:gd name="T17" fmla="*/ 38 h 77"/>
                  <a:gd name="T18" fmla="*/ 36 w 73"/>
                  <a:gd name="T19"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7">
                    <a:moveTo>
                      <a:pt x="36" y="77"/>
                    </a:moveTo>
                    <a:cubicBezTo>
                      <a:pt x="17" y="77"/>
                      <a:pt x="0" y="65"/>
                      <a:pt x="0" y="38"/>
                    </a:cubicBezTo>
                    <a:cubicBezTo>
                      <a:pt x="0" y="12"/>
                      <a:pt x="17" y="0"/>
                      <a:pt x="36" y="0"/>
                    </a:cubicBezTo>
                    <a:cubicBezTo>
                      <a:pt x="55" y="0"/>
                      <a:pt x="73" y="12"/>
                      <a:pt x="73" y="38"/>
                    </a:cubicBezTo>
                    <a:cubicBezTo>
                      <a:pt x="73" y="65"/>
                      <a:pt x="55" y="77"/>
                      <a:pt x="36" y="77"/>
                    </a:cubicBezTo>
                    <a:close/>
                    <a:moveTo>
                      <a:pt x="36" y="16"/>
                    </a:moveTo>
                    <a:cubicBezTo>
                      <a:pt x="22" y="16"/>
                      <a:pt x="19" y="29"/>
                      <a:pt x="19" y="38"/>
                    </a:cubicBezTo>
                    <a:cubicBezTo>
                      <a:pt x="19" y="48"/>
                      <a:pt x="22" y="61"/>
                      <a:pt x="36" y="61"/>
                    </a:cubicBezTo>
                    <a:cubicBezTo>
                      <a:pt x="51" y="61"/>
                      <a:pt x="53" y="48"/>
                      <a:pt x="53" y="38"/>
                    </a:cubicBezTo>
                    <a:cubicBezTo>
                      <a:pt x="53" y="29"/>
                      <a:pt x="51" y="16"/>
                      <a:pt x="3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5" name="Freeform 12"/>
              <p:cNvSpPr>
                <a:spLocks/>
              </p:cNvSpPr>
              <p:nvPr/>
            </p:nvSpPr>
            <p:spPr bwMode="auto">
              <a:xfrm>
                <a:off x="485775" y="4656138"/>
                <a:ext cx="53975" cy="96838"/>
              </a:xfrm>
              <a:custGeom>
                <a:avLst/>
                <a:gdLst>
                  <a:gd name="T0" fmla="*/ 0 w 41"/>
                  <a:gd name="T1" fmla="*/ 2 h 75"/>
                  <a:gd name="T2" fmla="*/ 18 w 41"/>
                  <a:gd name="T3" fmla="*/ 2 h 75"/>
                  <a:gd name="T4" fmla="*/ 18 w 41"/>
                  <a:gd name="T5" fmla="*/ 10 h 75"/>
                  <a:gd name="T6" fmla="*/ 38 w 41"/>
                  <a:gd name="T7" fmla="*/ 0 h 75"/>
                  <a:gd name="T8" fmla="*/ 41 w 41"/>
                  <a:gd name="T9" fmla="*/ 0 h 75"/>
                  <a:gd name="T10" fmla="*/ 41 w 41"/>
                  <a:gd name="T11" fmla="*/ 18 h 75"/>
                  <a:gd name="T12" fmla="*/ 40 w 41"/>
                  <a:gd name="T13" fmla="*/ 18 h 75"/>
                  <a:gd name="T14" fmla="*/ 19 w 41"/>
                  <a:gd name="T15" fmla="*/ 26 h 75"/>
                  <a:gd name="T16" fmla="*/ 19 w 41"/>
                  <a:gd name="T17" fmla="*/ 75 h 75"/>
                  <a:gd name="T18" fmla="*/ 0 w 41"/>
                  <a:gd name="T19" fmla="*/ 75 h 75"/>
                  <a:gd name="T20" fmla="*/ 0 w 41"/>
                  <a:gd name="T21"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75">
                    <a:moveTo>
                      <a:pt x="0" y="2"/>
                    </a:moveTo>
                    <a:cubicBezTo>
                      <a:pt x="18" y="2"/>
                      <a:pt x="18" y="2"/>
                      <a:pt x="18" y="2"/>
                    </a:cubicBezTo>
                    <a:cubicBezTo>
                      <a:pt x="18" y="10"/>
                      <a:pt x="18" y="10"/>
                      <a:pt x="18" y="10"/>
                    </a:cubicBezTo>
                    <a:cubicBezTo>
                      <a:pt x="22" y="6"/>
                      <a:pt x="30" y="0"/>
                      <a:pt x="38" y="0"/>
                    </a:cubicBezTo>
                    <a:cubicBezTo>
                      <a:pt x="39" y="0"/>
                      <a:pt x="40" y="0"/>
                      <a:pt x="41" y="0"/>
                    </a:cubicBezTo>
                    <a:cubicBezTo>
                      <a:pt x="41" y="18"/>
                      <a:pt x="41" y="18"/>
                      <a:pt x="41" y="18"/>
                    </a:cubicBezTo>
                    <a:cubicBezTo>
                      <a:pt x="40" y="18"/>
                      <a:pt x="40" y="18"/>
                      <a:pt x="40" y="18"/>
                    </a:cubicBezTo>
                    <a:cubicBezTo>
                      <a:pt x="31" y="18"/>
                      <a:pt x="22" y="20"/>
                      <a:pt x="19" y="26"/>
                    </a:cubicBezTo>
                    <a:cubicBezTo>
                      <a:pt x="19" y="75"/>
                      <a:pt x="19" y="75"/>
                      <a:pt x="19" y="75"/>
                    </a:cubicBezTo>
                    <a:cubicBezTo>
                      <a:pt x="0" y="75"/>
                      <a:pt x="0" y="75"/>
                      <a:pt x="0" y="75"/>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6" name="Freeform 13"/>
              <p:cNvSpPr>
                <a:spLocks noEditPoints="1"/>
              </p:cNvSpPr>
              <p:nvPr/>
            </p:nvSpPr>
            <p:spPr bwMode="auto">
              <a:xfrm>
                <a:off x="749300" y="4656138"/>
                <a:ext cx="88900" cy="133350"/>
              </a:xfrm>
              <a:custGeom>
                <a:avLst/>
                <a:gdLst>
                  <a:gd name="T0" fmla="*/ 34 w 68"/>
                  <a:gd name="T1" fmla="*/ 59 h 103"/>
                  <a:gd name="T2" fmla="*/ 50 w 68"/>
                  <a:gd name="T3" fmla="*/ 35 h 103"/>
                  <a:gd name="T4" fmla="*/ 34 w 68"/>
                  <a:gd name="T5" fmla="*/ 14 h 103"/>
                  <a:gd name="T6" fmla="*/ 19 w 68"/>
                  <a:gd name="T7" fmla="*/ 35 h 103"/>
                  <a:gd name="T8" fmla="*/ 34 w 68"/>
                  <a:gd name="T9" fmla="*/ 59 h 103"/>
                  <a:gd name="T10" fmla="*/ 68 w 68"/>
                  <a:gd name="T11" fmla="*/ 1 h 103"/>
                  <a:gd name="T12" fmla="*/ 68 w 68"/>
                  <a:gd name="T13" fmla="*/ 71 h 103"/>
                  <a:gd name="T14" fmla="*/ 32 w 68"/>
                  <a:gd name="T15" fmla="*/ 103 h 103"/>
                  <a:gd name="T16" fmla="*/ 2 w 68"/>
                  <a:gd name="T17" fmla="*/ 85 h 103"/>
                  <a:gd name="T18" fmla="*/ 21 w 68"/>
                  <a:gd name="T19" fmla="*/ 82 h 103"/>
                  <a:gd name="T20" fmla="*/ 35 w 68"/>
                  <a:gd name="T21" fmla="*/ 89 h 103"/>
                  <a:gd name="T22" fmla="*/ 49 w 68"/>
                  <a:gd name="T23" fmla="*/ 73 h 103"/>
                  <a:gd name="T24" fmla="*/ 49 w 68"/>
                  <a:gd name="T25" fmla="*/ 65 h 103"/>
                  <a:gd name="T26" fmla="*/ 49 w 68"/>
                  <a:gd name="T27" fmla="*/ 64 h 103"/>
                  <a:gd name="T28" fmla="*/ 30 w 68"/>
                  <a:gd name="T29" fmla="*/ 75 h 103"/>
                  <a:gd name="T30" fmla="*/ 0 w 68"/>
                  <a:gd name="T31" fmla="*/ 38 h 103"/>
                  <a:gd name="T32" fmla="*/ 29 w 68"/>
                  <a:gd name="T33" fmla="*/ 0 h 103"/>
                  <a:gd name="T34" fmla="*/ 50 w 68"/>
                  <a:gd name="T35" fmla="*/ 10 h 103"/>
                  <a:gd name="T36" fmla="*/ 50 w 68"/>
                  <a:gd name="T37" fmla="*/ 10 h 103"/>
                  <a:gd name="T38" fmla="*/ 52 w 68"/>
                  <a:gd name="T39" fmla="*/ 1 h 103"/>
                  <a:gd name="T40" fmla="*/ 68 w 68"/>
                  <a:gd name="T41"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03">
                    <a:moveTo>
                      <a:pt x="34" y="59"/>
                    </a:moveTo>
                    <a:cubicBezTo>
                      <a:pt x="48" y="59"/>
                      <a:pt x="50" y="44"/>
                      <a:pt x="50" y="35"/>
                    </a:cubicBezTo>
                    <a:cubicBezTo>
                      <a:pt x="50" y="23"/>
                      <a:pt x="44" y="14"/>
                      <a:pt x="34" y="14"/>
                    </a:cubicBezTo>
                    <a:cubicBezTo>
                      <a:pt x="27" y="14"/>
                      <a:pt x="19" y="19"/>
                      <a:pt x="19" y="35"/>
                    </a:cubicBezTo>
                    <a:cubicBezTo>
                      <a:pt x="19" y="44"/>
                      <a:pt x="20" y="59"/>
                      <a:pt x="34" y="59"/>
                    </a:cubicBezTo>
                    <a:close/>
                    <a:moveTo>
                      <a:pt x="68" y="1"/>
                    </a:moveTo>
                    <a:cubicBezTo>
                      <a:pt x="68" y="71"/>
                      <a:pt x="68" y="71"/>
                      <a:pt x="68" y="71"/>
                    </a:cubicBezTo>
                    <a:cubicBezTo>
                      <a:pt x="68" y="83"/>
                      <a:pt x="67" y="103"/>
                      <a:pt x="32" y="103"/>
                    </a:cubicBezTo>
                    <a:cubicBezTo>
                      <a:pt x="18" y="103"/>
                      <a:pt x="5" y="98"/>
                      <a:pt x="2" y="85"/>
                    </a:cubicBezTo>
                    <a:cubicBezTo>
                      <a:pt x="21" y="82"/>
                      <a:pt x="21" y="82"/>
                      <a:pt x="21" y="82"/>
                    </a:cubicBezTo>
                    <a:cubicBezTo>
                      <a:pt x="22" y="86"/>
                      <a:pt x="24" y="89"/>
                      <a:pt x="35" y="89"/>
                    </a:cubicBezTo>
                    <a:cubicBezTo>
                      <a:pt x="45" y="89"/>
                      <a:pt x="49" y="84"/>
                      <a:pt x="49" y="73"/>
                    </a:cubicBezTo>
                    <a:cubicBezTo>
                      <a:pt x="49" y="65"/>
                      <a:pt x="49" y="65"/>
                      <a:pt x="49" y="65"/>
                    </a:cubicBezTo>
                    <a:cubicBezTo>
                      <a:pt x="49" y="64"/>
                      <a:pt x="49" y="64"/>
                      <a:pt x="49" y="64"/>
                    </a:cubicBezTo>
                    <a:cubicBezTo>
                      <a:pt x="46" y="70"/>
                      <a:pt x="41" y="75"/>
                      <a:pt x="30" y="75"/>
                    </a:cubicBezTo>
                    <a:cubicBezTo>
                      <a:pt x="13" y="75"/>
                      <a:pt x="0" y="63"/>
                      <a:pt x="0" y="38"/>
                    </a:cubicBezTo>
                    <a:cubicBezTo>
                      <a:pt x="0" y="14"/>
                      <a:pt x="14" y="0"/>
                      <a:pt x="29" y="0"/>
                    </a:cubicBezTo>
                    <a:cubicBezTo>
                      <a:pt x="44" y="0"/>
                      <a:pt x="49" y="7"/>
                      <a:pt x="50" y="10"/>
                    </a:cubicBezTo>
                    <a:cubicBezTo>
                      <a:pt x="50" y="10"/>
                      <a:pt x="50" y="10"/>
                      <a:pt x="50" y="10"/>
                    </a:cubicBezTo>
                    <a:cubicBezTo>
                      <a:pt x="52" y="1"/>
                      <a:pt x="52" y="1"/>
                      <a:pt x="52" y="1"/>
                    </a:cubicBez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87" name="Freeform 14"/>
              <p:cNvSpPr>
                <a:spLocks noEditPoints="1"/>
              </p:cNvSpPr>
              <p:nvPr/>
            </p:nvSpPr>
            <p:spPr bwMode="auto">
              <a:xfrm>
                <a:off x="925513" y="4622801"/>
                <a:ext cx="65088" cy="30163"/>
              </a:xfrm>
              <a:custGeom>
                <a:avLst/>
                <a:gdLst>
                  <a:gd name="T0" fmla="*/ 15 w 41"/>
                  <a:gd name="T1" fmla="*/ 2 h 19"/>
                  <a:gd name="T2" fmla="*/ 9 w 41"/>
                  <a:gd name="T3" fmla="*/ 2 h 19"/>
                  <a:gd name="T4" fmla="*/ 9 w 41"/>
                  <a:gd name="T5" fmla="*/ 19 h 19"/>
                  <a:gd name="T6" fmla="*/ 5 w 41"/>
                  <a:gd name="T7" fmla="*/ 19 h 19"/>
                  <a:gd name="T8" fmla="*/ 5 w 41"/>
                  <a:gd name="T9" fmla="*/ 2 h 19"/>
                  <a:gd name="T10" fmla="*/ 0 w 41"/>
                  <a:gd name="T11" fmla="*/ 2 h 19"/>
                  <a:gd name="T12" fmla="*/ 0 w 41"/>
                  <a:gd name="T13" fmla="*/ 0 h 19"/>
                  <a:gd name="T14" fmla="*/ 15 w 41"/>
                  <a:gd name="T15" fmla="*/ 0 h 19"/>
                  <a:gd name="T16" fmla="*/ 15 w 41"/>
                  <a:gd name="T17" fmla="*/ 2 h 19"/>
                  <a:gd name="T18" fmla="*/ 41 w 41"/>
                  <a:gd name="T19" fmla="*/ 19 h 19"/>
                  <a:gd name="T20" fmla="*/ 38 w 41"/>
                  <a:gd name="T21" fmla="*/ 19 h 19"/>
                  <a:gd name="T22" fmla="*/ 38 w 41"/>
                  <a:gd name="T23" fmla="*/ 3 h 19"/>
                  <a:gd name="T24" fmla="*/ 37 w 41"/>
                  <a:gd name="T25" fmla="*/ 3 h 19"/>
                  <a:gd name="T26" fmla="*/ 31 w 41"/>
                  <a:gd name="T27" fmla="*/ 19 h 19"/>
                  <a:gd name="T28" fmla="*/ 29 w 41"/>
                  <a:gd name="T29" fmla="*/ 19 h 19"/>
                  <a:gd name="T30" fmla="*/ 22 w 41"/>
                  <a:gd name="T31" fmla="*/ 3 h 19"/>
                  <a:gd name="T32" fmla="*/ 22 w 41"/>
                  <a:gd name="T33" fmla="*/ 3 h 19"/>
                  <a:gd name="T34" fmla="*/ 22 w 41"/>
                  <a:gd name="T35" fmla="*/ 19 h 19"/>
                  <a:gd name="T36" fmla="*/ 19 w 41"/>
                  <a:gd name="T37" fmla="*/ 19 h 19"/>
                  <a:gd name="T38" fmla="*/ 19 w 41"/>
                  <a:gd name="T39" fmla="*/ 0 h 19"/>
                  <a:gd name="T40" fmla="*/ 24 w 41"/>
                  <a:gd name="T41" fmla="*/ 0 h 19"/>
                  <a:gd name="T42" fmla="*/ 30 w 41"/>
                  <a:gd name="T43" fmla="*/ 15 h 19"/>
                  <a:gd name="T44" fmla="*/ 35 w 41"/>
                  <a:gd name="T45" fmla="*/ 0 h 19"/>
                  <a:gd name="T46" fmla="*/ 41 w 41"/>
                  <a:gd name="T47" fmla="*/ 0 h 19"/>
                  <a:gd name="T48" fmla="*/ 41 w 41"/>
                  <a:gd name="T4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9">
                    <a:moveTo>
                      <a:pt x="15" y="2"/>
                    </a:moveTo>
                    <a:lnTo>
                      <a:pt x="9" y="2"/>
                    </a:lnTo>
                    <a:lnTo>
                      <a:pt x="9" y="19"/>
                    </a:lnTo>
                    <a:lnTo>
                      <a:pt x="5" y="19"/>
                    </a:lnTo>
                    <a:lnTo>
                      <a:pt x="5" y="2"/>
                    </a:lnTo>
                    <a:lnTo>
                      <a:pt x="0" y="2"/>
                    </a:lnTo>
                    <a:lnTo>
                      <a:pt x="0" y="0"/>
                    </a:lnTo>
                    <a:lnTo>
                      <a:pt x="15" y="0"/>
                    </a:lnTo>
                    <a:lnTo>
                      <a:pt x="15" y="2"/>
                    </a:lnTo>
                    <a:close/>
                    <a:moveTo>
                      <a:pt x="41" y="19"/>
                    </a:moveTo>
                    <a:lnTo>
                      <a:pt x="38" y="19"/>
                    </a:lnTo>
                    <a:lnTo>
                      <a:pt x="38" y="3"/>
                    </a:lnTo>
                    <a:lnTo>
                      <a:pt x="37" y="3"/>
                    </a:lnTo>
                    <a:lnTo>
                      <a:pt x="31" y="19"/>
                    </a:lnTo>
                    <a:lnTo>
                      <a:pt x="29" y="19"/>
                    </a:lnTo>
                    <a:lnTo>
                      <a:pt x="22" y="3"/>
                    </a:lnTo>
                    <a:lnTo>
                      <a:pt x="22" y="3"/>
                    </a:lnTo>
                    <a:lnTo>
                      <a:pt x="22" y="19"/>
                    </a:lnTo>
                    <a:lnTo>
                      <a:pt x="19" y="19"/>
                    </a:lnTo>
                    <a:lnTo>
                      <a:pt x="19" y="0"/>
                    </a:lnTo>
                    <a:lnTo>
                      <a:pt x="24" y="0"/>
                    </a:lnTo>
                    <a:lnTo>
                      <a:pt x="30" y="15"/>
                    </a:lnTo>
                    <a:lnTo>
                      <a:pt x="35" y="0"/>
                    </a:lnTo>
                    <a:lnTo>
                      <a:pt x="41" y="0"/>
                    </a:lnTo>
                    <a:lnTo>
                      <a:pt x="4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grpSp>
        <p:grpSp>
          <p:nvGrpSpPr>
            <p:cNvPr id="35" name="Group 34"/>
            <p:cNvGrpSpPr/>
            <p:nvPr/>
          </p:nvGrpSpPr>
          <p:grpSpPr>
            <a:xfrm>
              <a:off x="1173163" y="4383088"/>
              <a:ext cx="1039813" cy="431800"/>
              <a:chOff x="1173163" y="4383088"/>
              <a:chExt cx="1039813" cy="431800"/>
            </a:xfrm>
            <a:solidFill>
              <a:schemeClr val="tx1"/>
            </a:solidFill>
          </p:grpSpPr>
          <p:sp>
            <p:nvSpPr>
              <p:cNvPr id="36" name="Freeform 15"/>
              <p:cNvSpPr>
                <a:spLocks noEditPoints="1"/>
              </p:cNvSpPr>
              <p:nvPr/>
            </p:nvSpPr>
            <p:spPr bwMode="auto">
              <a:xfrm>
                <a:off x="1184275" y="4383088"/>
                <a:ext cx="149225" cy="177800"/>
              </a:xfrm>
              <a:custGeom>
                <a:avLst/>
                <a:gdLst>
                  <a:gd name="T0" fmla="*/ 65 w 116"/>
                  <a:gd name="T1" fmla="*/ 0 h 138"/>
                  <a:gd name="T2" fmla="*/ 83 w 116"/>
                  <a:gd name="T3" fmla="*/ 2 h 138"/>
                  <a:gd name="T4" fmla="*/ 97 w 116"/>
                  <a:gd name="T5" fmla="*/ 7 h 138"/>
                  <a:gd name="T6" fmla="*/ 106 w 116"/>
                  <a:gd name="T7" fmla="*/ 18 h 138"/>
                  <a:gd name="T8" fmla="*/ 109 w 116"/>
                  <a:gd name="T9" fmla="*/ 34 h 138"/>
                  <a:gd name="T10" fmla="*/ 104 w 116"/>
                  <a:gd name="T11" fmla="*/ 52 h 138"/>
                  <a:gd name="T12" fmla="*/ 90 w 116"/>
                  <a:gd name="T13" fmla="*/ 63 h 138"/>
                  <a:gd name="T14" fmla="*/ 109 w 116"/>
                  <a:gd name="T15" fmla="*/ 76 h 138"/>
                  <a:gd name="T16" fmla="*/ 116 w 116"/>
                  <a:gd name="T17" fmla="*/ 98 h 138"/>
                  <a:gd name="T18" fmla="*/ 112 w 116"/>
                  <a:gd name="T19" fmla="*/ 116 h 138"/>
                  <a:gd name="T20" fmla="*/ 101 w 116"/>
                  <a:gd name="T21" fmla="*/ 129 h 138"/>
                  <a:gd name="T22" fmla="*/ 85 w 116"/>
                  <a:gd name="T23" fmla="*/ 136 h 138"/>
                  <a:gd name="T24" fmla="*/ 67 w 116"/>
                  <a:gd name="T25" fmla="*/ 138 h 138"/>
                  <a:gd name="T26" fmla="*/ 0 w 116"/>
                  <a:gd name="T27" fmla="*/ 138 h 138"/>
                  <a:gd name="T28" fmla="*/ 0 w 116"/>
                  <a:gd name="T29" fmla="*/ 0 h 138"/>
                  <a:gd name="T30" fmla="*/ 65 w 116"/>
                  <a:gd name="T31" fmla="*/ 0 h 138"/>
                  <a:gd name="T32" fmla="*/ 61 w 116"/>
                  <a:gd name="T33" fmla="*/ 56 h 138"/>
                  <a:gd name="T34" fmla="*/ 74 w 116"/>
                  <a:gd name="T35" fmla="*/ 52 h 138"/>
                  <a:gd name="T36" fmla="*/ 80 w 116"/>
                  <a:gd name="T37" fmla="*/ 39 h 138"/>
                  <a:gd name="T38" fmla="*/ 78 w 116"/>
                  <a:gd name="T39" fmla="*/ 32 h 138"/>
                  <a:gd name="T40" fmla="*/ 73 w 116"/>
                  <a:gd name="T41" fmla="*/ 27 h 138"/>
                  <a:gd name="T42" fmla="*/ 67 w 116"/>
                  <a:gd name="T43" fmla="*/ 24 h 138"/>
                  <a:gd name="T44" fmla="*/ 59 w 116"/>
                  <a:gd name="T45" fmla="*/ 24 h 138"/>
                  <a:gd name="T46" fmla="*/ 30 w 116"/>
                  <a:gd name="T47" fmla="*/ 24 h 138"/>
                  <a:gd name="T48" fmla="*/ 30 w 116"/>
                  <a:gd name="T49" fmla="*/ 56 h 138"/>
                  <a:gd name="T50" fmla="*/ 61 w 116"/>
                  <a:gd name="T51" fmla="*/ 56 h 138"/>
                  <a:gd name="T52" fmla="*/ 63 w 116"/>
                  <a:gd name="T53" fmla="*/ 115 h 138"/>
                  <a:gd name="T54" fmla="*/ 71 w 116"/>
                  <a:gd name="T55" fmla="*/ 114 h 138"/>
                  <a:gd name="T56" fmla="*/ 78 w 116"/>
                  <a:gd name="T57" fmla="*/ 111 h 138"/>
                  <a:gd name="T58" fmla="*/ 83 w 116"/>
                  <a:gd name="T59" fmla="*/ 105 h 138"/>
                  <a:gd name="T60" fmla="*/ 85 w 116"/>
                  <a:gd name="T61" fmla="*/ 96 h 138"/>
                  <a:gd name="T62" fmla="*/ 79 w 116"/>
                  <a:gd name="T63" fmla="*/ 81 h 138"/>
                  <a:gd name="T64" fmla="*/ 63 w 116"/>
                  <a:gd name="T65" fmla="*/ 77 h 138"/>
                  <a:gd name="T66" fmla="*/ 30 w 116"/>
                  <a:gd name="T67" fmla="*/ 77 h 138"/>
                  <a:gd name="T68" fmla="*/ 30 w 116"/>
                  <a:gd name="T69" fmla="*/ 115 h 138"/>
                  <a:gd name="T70" fmla="*/ 63 w 116"/>
                  <a:gd name="T71" fmla="*/ 1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38">
                    <a:moveTo>
                      <a:pt x="65" y="0"/>
                    </a:moveTo>
                    <a:cubicBezTo>
                      <a:pt x="72" y="0"/>
                      <a:pt x="78" y="1"/>
                      <a:pt x="83" y="2"/>
                    </a:cubicBezTo>
                    <a:cubicBezTo>
                      <a:pt x="88" y="3"/>
                      <a:pt x="93" y="5"/>
                      <a:pt x="97" y="7"/>
                    </a:cubicBezTo>
                    <a:cubicBezTo>
                      <a:pt x="101" y="10"/>
                      <a:pt x="104" y="14"/>
                      <a:pt x="106" y="18"/>
                    </a:cubicBezTo>
                    <a:cubicBezTo>
                      <a:pt x="108" y="22"/>
                      <a:pt x="109" y="28"/>
                      <a:pt x="109" y="34"/>
                    </a:cubicBezTo>
                    <a:cubicBezTo>
                      <a:pt x="109" y="41"/>
                      <a:pt x="107" y="47"/>
                      <a:pt x="104" y="52"/>
                    </a:cubicBezTo>
                    <a:cubicBezTo>
                      <a:pt x="101" y="56"/>
                      <a:pt x="96" y="60"/>
                      <a:pt x="90" y="63"/>
                    </a:cubicBezTo>
                    <a:cubicBezTo>
                      <a:pt x="99" y="66"/>
                      <a:pt x="105" y="70"/>
                      <a:pt x="109" y="76"/>
                    </a:cubicBezTo>
                    <a:cubicBezTo>
                      <a:pt x="114" y="82"/>
                      <a:pt x="116" y="89"/>
                      <a:pt x="116" y="98"/>
                    </a:cubicBezTo>
                    <a:cubicBezTo>
                      <a:pt x="116" y="105"/>
                      <a:pt x="114" y="111"/>
                      <a:pt x="112" y="116"/>
                    </a:cubicBezTo>
                    <a:cubicBezTo>
                      <a:pt x="109" y="121"/>
                      <a:pt x="105" y="126"/>
                      <a:pt x="101" y="129"/>
                    </a:cubicBezTo>
                    <a:cubicBezTo>
                      <a:pt x="96" y="132"/>
                      <a:pt x="91" y="134"/>
                      <a:pt x="85" y="136"/>
                    </a:cubicBezTo>
                    <a:cubicBezTo>
                      <a:pt x="79" y="137"/>
                      <a:pt x="73" y="138"/>
                      <a:pt x="67" y="138"/>
                    </a:cubicBezTo>
                    <a:cubicBezTo>
                      <a:pt x="0" y="138"/>
                      <a:pt x="0" y="138"/>
                      <a:pt x="0" y="138"/>
                    </a:cubicBezTo>
                    <a:cubicBezTo>
                      <a:pt x="0" y="0"/>
                      <a:pt x="0" y="0"/>
                      <a:pt x="0" y="0"/>
                    </a:cubicBezTo>
                    <a:lnTo>
                      <a:pt x="65" y="0"/>
                    </a:lnTo>
                    <a:close/>
                    <a:moveTo>
                      <a:pt x="61" y="56"/>
                    </a:moveTo>
                    <a:cubicBezTo>
                      <a:pt x="66" y="56"/>
                      <a:pt x="71" y="55"/>
                      <a:pt x="74" y="52"/>
                    </a:cubicBezTo>
                    <a:cubicBezTo>
                      <a:pt x="78" y="49"/>
                      <a:pt x="80" y="45"/>
                      <a:pt x="80" y="39"/>
                    </a:cubicBezTo>
                    <a:cubicBezTo>
                      <a:pt x="80" y="36"/>
                      <a:pt x="79" y="34"/>
                      <a:pt x="78" y="32"/>
                    </a:cubicBezTo>
                    <a:cubicBezTo>
                      <a:pt x="77" y="29"/>
                      <a:pt x="75" y="28"/>
                      <a:pt x="73" y="27"/>
                    </a:cubicBezTo>
                    <a:cubicBezTo>
                      <a:pt x="71" y="26"/>
                      <a:pt x="69" y="25"/>
                      <a:pt x="67" y="24"/>
                    </a:cubicBezTo>
                    <a:cubicBezTo>
                      <a:pt x="64" y="24"/>
                      <a:pt x="61" y="24"/>
                      <a:pt x="59" y="24"/>
                    </a:cubicBezTo>
                    <a:cubicBezTo>
                      <a:pt x="30" y="24"/>
                      <a:pt x="30" y="24"/>
                      <a:pt x="30" y="24"/>
                    </a:cubicBezTo>
                    <a:cubicBezTo>
                      <a:pt x="30" y="56"/>
                      <a:pt x="30" y="56"/>
                      <a:pt x="30" y="56"/>
                    </a:cubicBezTo>
                    <a:lnTo>
                      <a:pt x="61" y="56"/>
                    </a:lnTo>
                    <a:close/>
                    <a:moveTo>
                      <a:pt x="63" y="115"/>
                    </a:moveTo>
                    <a:cubicBezTo>
                      <a:pt x="66" y="115"/>
                      <a:pt x="69" y="114"/>
                      <a:pt x="71" y="114"/>
                    </a:cubicBezTo>
                    <a:cubicBezTo>
                      <a:pt x="74" y="113"/>
                      <a:pt x="76" y="112"/>
                      <a:pt x="78" y="111"/>
                    </a:cubicBezTo>
                    <a:cubicBezTo>
                      <a:pt x="81" y="109"/>
                      <a:pt x="82" y="108"/>
                      <a:pt x="83" y="105"/>
                    </a:cubicBezTo>
                    <a:cubicBezTo>
                      <a:pt x="85" y="103"/>
                      <a:pt x="85" y="100"/>
                      <a:pt x="85" y="96"/>
                    </a:cubicBezTo>
                    <a:cubicBezTo>
                      <a:pt x="85" y="89"/>
                      <a:pt x="83" y="84"/>
                      <a:pt x="79" y="81"/>
                    </a:cubicBezTo>
                    <a:cubicBezTo>
                      <a:pt x="75" y="78"/>
                      <a:pt x="70" y="77"/>
                      <a:pt x="63" y="77"/>
                    </a:cubicBezTo>
                    <a:cubicBezTo>
                      <a:pt x="30" y="77"/>
                      <a:pt x="30" y="77"/>
                      <a:pt x="30" y="77"/>
                    </a:cubicBezTo>
                    <a:cubicBezTo>
                      <a:pt x="30" y="115"/>
                      <a:pt x="30" y="115"/>
                      <a:pt x="30" y="115"/>
                    </a:cubicBezTo>
                    <a:lnTo>
                      <a:pt x="63"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37" name="Freeform 16"/>
              <p:cNvSpPr>
                <a:spLocks/>
              </p:cNvSpPr>
              <p:nvPr/>
            </p:nvSpPr>
            <p:spPr bwMode="auto">
              <a:xfrm>
                <a:off x="1352550" y="4432301"/>
                <a:ext cx="120650" cy="131763"/>
              </a:xfrm>
              <a:custGeom>
                <a:avLst/>
                <a:gdLst>
                  <a:gd name="T0" fmla="*/ 68 w 94"/>
                  <a:gd name="T1" fmla="*/ 100 h 103"/>
                  <a:gd name="T2" fmla="*/ 68 w 94"/>
                  <a:gd name="T3" fmla="*/ 86 h 103"/>
                  <a:gd name="T4" fmla="*/ 67 w 94"/>
                  <a:gd name="T5" fmla="*/ 86 h 103"/>
                  <a:gd name="T6" fmla="*/ 53 w 94"/>
                  <a:gd name="T7" fmla="*/ 99 h 103"/>
                  <a:gd name="T8" fmla="*/ 36 w 94"/>
                  <a:gd name="T9" fmla="*/ 103 h 103"/>
                  <a:gd name="T10" fmla="*/ 18 w 94"/>
                  <a:gd name="T11" fmla="*/ 100 h 103"/>
                  <a:gd name="T12" fmla="*/ 7 w 94"/>
                  <a:gd name="T13" fmla="*/ 92 h 103"/>
                  <a:gd name="T14" fmla="*/ 1 w 94"/>
                  <a:gd name="T15" fmla="*/ 79 h 103"/>
                  <a:gd name="T16" fmla="*/ 0 w 94"/>
                  <a:gd name="T17" fmla="*/ 62 h 103"/>
                  <a:gd name="T18" fmla="*/ 0 w 94"/>
                  <a:gd name="T19" fmla="*/ 0 h 103"/>
                  <a:gd name="T20" fmla="*/ 27 w 94"/>
                  <a:gd name="T21" fmla="*/ 0 h 103"/>
                  <a:gd name="T22" fmla="*/ 27 w 94"/>
                  <a:gd name="T23" fmla="*/ 57 h 103"/>
                  <a:gd name="T24" fmla="*/ 31 w 94"/>
                  <a:gd name="T25" fmla="*/ 75 h 103"/>
                  <a:gd name="T26" fmla="*/ 45 w 94"/>
                  <a:gd name="T27" fmla="*/ 81 h 103"/>
                  <a:gd name="T28" fmla="*/ 61 w 94"/>
                  <a:gd name="T29" fmla="*/ 75 h 103"/>
                  <a:gd name="T30" fmla="*/ 66 w 94"/>
                  <a:gd name="T31" fmla="*/ 53 h 103"/>
                  <a:gd name="T32" fmla="*/ 66 w 94"/>
                  <a:gd name="T33" fmla="*/ 0 h 103"/>
                  <a:gd name="T34" fmla="*/ 94 w 94"/>
                  <a:gd name="T35" fmla="*/ 0 h 103"/>
                  <a:gd name="T36" fmla="*/ 94 w 94"/>
                  <a:gd name="T37" fmla="*/ 100 h 103"/>
                  <a:gd name="T38" fmla="*/ 68 w 94"/>
                  <a:gd name="T39"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68" y="100"/>
                    </a:moveTo>
                    <a:cubicBezTo>
                      <a:pt x="68" y="86"/>
                      <a:pt x="68" y="86"/>
                      <a:pt x="68" y="86"/>
                    </a:cubicBezTo>
                    <a:cubicBezTo>
                      <a:pt x="67" y="86"/>
                      <a:pt x="67" y="86"/>
                      <a:pt x="67" y="86"/>
                    </a:cubicBezTo>
                    <a:cubicBezTo>
                      <a:pt x="64" y="92"/>
                      <a:pt x="59" y="96"/>
                      <a:pt x="53" y="99"/>
                    </a:cubicBezTo>
                    <a:cubicBezTo>
                      <a:pt x="48" y="101"/>
                      <a:pt x="42" y="103"/>
                      <a:pt x="36" y="103"/>
                    </a:cubicBezTo>
                    <a:cubicBezTo>
                      <a:pt x="29" y="103"/>
                      <a:pt x="23" y="102"/>
                      <a:pt x="18" y="100"/>
                    </a:cubicBezTo>
                    <a:cubicBezTo>
                      <a:pt x="14" y="98"/>
                      <a:pt x="10" y="95"/>
                      <a:pt x="7" y="92"/>
                    </a:cubicBezTo>
                    <a:cubicBezTo>
                      <a:pt x="4" y="88"/>
                      <a:pt x="3" y="84"/>
                      <a:pt x="1" y="79"/>
                    </a:cubicBezTo>
                    <a:cubicBezTo>
                      <a:pt x="0" y="74"/>
                      <a:pt x="0" y="68"/>
                      <a:pt x="0" y="62"/>
                    </a:cubicBezTo>
                    <a:cubicBezTo>
                      <a:pt x="0" y="0"/>
                      <a:pt x="0" y="0"/>
                      <a:pt x="0" y="0"/>
                    </a:cubicBezTo>
                    <a:cubicBezTo>
                      <a:pt x="27" y="0"/>
                      <a:pt x="27" y="0"/>
                      <a:pt x="27" y="0"/>
                    </a:cubicBezTo>
                    <a:cubicBezTo>
                      <a:pt x="27" y="57"/>
                      <a:pt x="27" y="57"/>
                      <a:pt x="27" y="57"/>
                    </a:cubicBezTo>
                    <a:cubicBezTo>
                      <a:pt x="27" y="65"/>
                      <a:pt x="29" y="71"/>
                      <a:pt x="31" y="75"/>
                    </a:cubicBezTo>
                    <a:cubicBezTo>
                      <a:pt x="34" y="79"/>
                      <a:pt x="38" y="81"/>
                      <a:pt x="45" y="81"/>
                    </a:cubicBezTo>
                    <a:cubicBezTo>
                      <a:pt x="52" y="81"/>
                      <a:pt x="58" y="79"/>
                      <a:pt x="61" y="75"/>
                    </a:cubicBezTo>
                    <a:cubicBezTo>
                      <a:pt x="65" y="70"/>
                      <a:pt x="66" y="63"/>
                      <a:pt x="66" y="53"/>
                    </a:cubicBezTo>
                    <a:cubicBezTo>
                      <a:pt x="66" y="0"/>
                      <a:pt x="66" y="0"/>
                      <a:pt x="66" y="0"/>
                    </a:cubicBezTo>
                    <a:cubicBezTo>
                      <a:pt x="94" y="0"/>
                      <a:pt x="94" y="0"/>
                      <a:pt x="94" y="0"/>
                    </a:cubicBezTo>
                    <a:cubicBezTo>
                      <a:pt x="94" y="100"/>
                      <a:pt x="94" y="100"/>
                      <a:pt x="94" y="100"/>
                    </a:cubicBezTo>
                    <a:lnTo>
                      <a:pt x="6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38" name="Freeform 17"/>
              <p:cNvSpPr>
                <a:spLocks/>
              </p:cNvSpPr>
              <p:nvPr/>
            </p:nvSpPr>
            <p:spPr bwMode="auto">
              <a:xfrm>
                <a:off x="1489075" y="4427538"/>
                <a:ext cx="120650" cy="136525"/>
              </a:xfrm>
              <a:custGeom>
                <a:avLst/>
                <a:gdLst>
                  <a:gd name="T0" fmla="*/ 28 w 93"/>
                  <a:gd name="T1" fmla="*/ 78 h 106"/>
                  <a:gd name="T2" fmla="*/ 33 w 93"/>
                  <a:gd name="T3" fmla="*/ 84 h 106"/>
                  <a:gd name="T4" fmla="*/ 40 w 93"/>
                  <a:gd name="T5" fmla="*/ 87 h 106"/>
                  <a:gd name="T6" fmla="*/ 47 w 93"/>
                  <a:gd name="T7" fmla="*/ 88 h 106"/>
                  <a:gd name="T8" fmla="*/ 54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3 w 93"/>
                  <a:gd name="T21" fmla="*/ 56 h 106"/>
                  <a:gd name="T22" fmla="*/ 12 w 93"/>
                  <a:gd name="T23" fmla="*/ 51 h 106"/>
                  <a:gd name="T24" fmla="*/ 5 w 93"/>
                  <a:gd name="T25" fmla="*/ 44 h 106"/>
                  <a:gd name="T26" fmla="*/ 3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6 w 93"/>
                  <a:gd name="T39" fmla="*/ 7 h 106"/>
                  <a:gd name="T40" fmla="*/ 86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2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9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40" y="87"/>
                    </a:cubicBezTo>
                    <a:cubicBezTo>
                      <a:pt x="42" y="87"/>
                      <a:pt x="45" y="88"/>
                      <a:pt x="47" y="88"/>
                    </a:cubicBezTo>
                    <a:cubicBezTo>
                      <a:pt x="49" y="88"/>
                      <a:pt x="51" y="87"/>
                      <a:pt x="54" y="87"/>
                    </a:cubicBezTo>
                    <a:cubicBezTo>
                      <a:pt x="56" y="86"/>
                      <a:pt x="58" y="86"/>
                      <a:pt x="59" y="85"/>
                    </a:cubicBezTo>
                    <a:cubicBezTo>
                      <a:pt x="61" y="84"/>
                      <a:pt x="63" y="82"/>
                      <a:pt x="64" y="81"/>
                    </a:cubicBezTo>
                    <a:cubicBezTo>
                      <a:pt x="65" y="79"/>
                      <a:pt x="65" y="77"/>
                      <a:pt x="65" y="75"/>
                    </a:cubicBezTo>
                    <a:cubicBezTo>
                      <a:pt x="65" y="71"/>
                      <a:pt x="63" y="68"/>
                      <a:pt x="57" y="65"/>
                    </a:cubicBezTo>
                    <a:cubicBezTo>
                      <a:pt x="52" y="63"/>
                      <a:pt x="44" y="61"/>
                      <a:pt x="34" y="59"/>
                    </a:cubicBezTo>
                    <a:cubicBezTo>
                      <a:pt x="30" y="58"/>
                      <a:pt x="26" y="57"/>
                      <a:pt x="23" y="56"/>
                    </a:cubicBezTo>
                    <a:cubicBezTo>
                      <a:pt x="19" y="55"/>
                      <a:pt x="15" y="53"/>
                      <a:pt x="12" y="51"/>
                    </a:cubicBezTo>
                    <a:cubicBezTo>
                      <a:pt x="9" y="49"/>
                      <a:pt x="7" y="47"/>
                      <a:pt x="5" y="44"/>
                    </a:cubicBezTo>
                    <a:cubicBezTo>
                      <a:pt x="3" y="41"/>
                      <a:pt x="3" y="37"/>
                      <a:pt x="3" y="33"/>
                    </a:cubicBezTo>
                    <a:cubicBezTo>
                      <a:pt x="3" y="26"/>
                      <a:pt x="4" y="21"/>
                      <a:pt x="6" y="17"/>
                    </a:cubicBezTo>
                    <a:cubicBezTo>
                      <a:pt x="9" y="13"/>
                      <a:pt x="12" y="9"/>
                      <a:pt x="16" y="7"/>
                    </a:cubicBezTo>
                    <a:cubicBezTo>
                      <a:pt x="20" y="4"/>
                      <a:pt x="25" y="3"/>
                      <a:pt x="30" y="2"/>
                    </a:cubicBezTo>
                    <a:cubicBezTo>
                      <a:pt x="35" y="1"/>
                      <a:pt x="41" y="0"/>
                      <a:pt x="46" y="0"/>
                    </a:cubicBezTo>
                    <a:cubicBezTo>
                      <a:pt x="52" y="0"/>
                      <a:pt x="57" y="1"/>
                      <a:pt x="62" y="2"/>
                    </a:cubicBezTo>
                    <a:cubicBezTo>
                      <a:pt x="67" y="3"/>
                      <a:pt x="72" y="5"/>
                      <a:pt x="76" y="7"/>
                    </a:cubicBezTo>
                    <a:cubicBezTo>
                      <a:pt x="80" y="10"/>
                      <a:pt x="83" y="13"/>
                      <a:pt x="86" y="17"/>
                    </a:cubicBezTo>
                    <a:cubicBezTo>
                      <a:pt x="88" y="21"/>
                      <a:pt x="90" y="26"/>
                      <a:pt x="90" y="32"/>
                    </a:cubicBezTo>
                    <a:cubicBezTo>
                      <a:pt x="64" y="32"/>
                      <a:pt x="64" y="32"/>
                      <a:pt x="64" y="32"/>
                    </a:cubicBezTo>
                    <a:cubicBezTo>
                      <a:pt x="64" y="27"/>
                      <a:pt x="62" y="23"/>
                      <a:pt x="58" y="22"/>
                    </a:cubicBezTo>
                    <a:cubicBezTo>
                      <a:pt x="54" y="20"/>
                      <a:pt x="50" y="19"/>
                      <a:pt x="45" y="19"/>
                    </a:cubicBezTo>
                    <a:cubicBezTo>
                      <a:pt x="44" y="19"/>
                      <a:pt x="42" y="19"/>
                      <a:pt x="40" y="19"/>
                    </a:cubicBezTo>
                    <a:cubicBezTo>
                      <a:pt x="38" y="19"/>
                      <a:pt x="37" y="20"/>
                      <a:pt x="35" y="20"/>
                    </a:cubicBezTo>
                    <a:cubicBezTo>
                      <a:pt x="34" y="21"/>
                      <a:pt x="33" y="22"/>
                      <a:pt x="32" y="23"/>
                    </a:cubicBezTo>
                    <a:cubicBezTo>
                      <a:pt x="31" y="24"/>
                      <a:pt x="30" y="26"/>
                      <a:pt x="30" y="28"/>
                    </a:cubicBezTo>
                    <a:cubicBezTo>
                      <a:pt x="30" y="31"/>
                      <a:pt x="31" y="33"/>
                      <a:pt x="33" y="34"/>
                    </a:cubicBezTo>
                    <a:cubicBezTo>
                      <a:pt x="35" y="36"/>
                      <a:pt x="37" y="37"/>
                      <a:pt x="40" y="38"/>
                    </a:cubicBezTo>
                    <a:cubicBezTo>
                      <a:pt x="43" y="39"/>
                      <a:pt x="46" y="40"/>
                      <a:pt x="50" y="40"/>
                    </a:cubicBezTo>
                    <a:cubicBezTo>
                      <a:pt x="54" y="41"/>
                      <a:pt x="57" y="42"/>
                      <a:pt x="61" y="43"/>
                    </a:cubicBezTo>
                    <a:cubicBezTo>
                      <a:pt x="65" y="44"/>
                      <a:pt x="69" y="45"/>
                      <a:pt x="73" y="46"/>
                    </a:cubicBezTo>
                    <a:cubicBezTo>
                      <a:pt x="77" y="48"/>
                      <a:pt x="80" y="49"/>
                      <a:pt x="83" y="51"/>
                    </a:cubicBezTo>
                    <a:cubicBezTo>
                      <a:pt x="86" y="54"/>
                      <a:pt x="88" y="56"/>
                      <a:pt x="90" y="59"/>
                    </a:cubicBezTo>
                    <a:cubicBezTo>
                      <a:pt x="92" y="63"/>
                      <a:pt x="93" y="66"/>
                      <a:pt x="93" y="71"/>
                    </a:cubicBezTo>
                    <a:cubicBezTo>
                      <a:pt x="93" y="78"/>
                      <a:pt x="92" y="83"/>
                      <a:pt x="89" y="88"/>
                    </a:cubicBezTo>
                    <a:cubicBezTo>
                      <a:pt x="86" y="92"/>
                      <a:pt x="83" y="96"/>
                      <a:pt x="79" y="98"/>
                    </a:cubicBezTo>
                    <a:cubicBezTo>
                      <a:pt x="74" y="101"/>
                      <a:pt x="69" y="103"/>
                      <a:pt x="64" y="104"/>
                    </a:cubicBezTo>
                    <a:cubicBezTo>
                      <a:pt x="59" y="105"/>
                      <a:pt x="53" y="106"/>
                      <a:pt x="47" y="106"/>
                    </a:cubicBezTo>
                    <a:cubicBezTo>
                      <a:pt x="41" y="106"/>
                      <a:pt x="36" y="105"/>
                      <a:pt x="30" y="104"/>
                    </a:cubicBezTo>
                    <a:cubicBezTo>
                      <a:pt x="25" y="103"/>
                      <a:pt x="20" y="101"/>
                      <a:pt x="15" y="98"/>
                    </a:cubicBezTo>
                    <a:cubicBezTo>
                      <a:pt x="11" y="95"/>
                      <a:pt x="8" y="92"/>
                      <a:pt x="5" y="87"/>
                    </a:cubicBezTo>
                    <a:cubicBezTo>
                      <a:pt x="2" y="83"/>
                      <a:pt x="0" y="77"/>
                      <a:pt x="0" y="71"/>
                    </a:cubicBezTo>
                    <a:cubicBezTo>
                      <a:pt x="26" y="71"/>
                      <a:pt x="26" y="71"/>
                      <a:pt x="26" y="71"/>
                    </a:cubicBezTo>
                    <a:cubicBezTo>
                      <a:pt x="26" y="74"/>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39" name="Freeform 18"/>
              <p:cNvSpPr>
                <a:spLocks noEditPoints="1"/>
              </p:cNvSpPr>
              <p:nvPr/>
            </p:nvSpPr>
            <p:spPr bwMode="auto">
              <a:xfrm>
                <a:off x="1627188" y="4383088"/>
                <a:ext cx="36513" cy="177800"/>
              </a:xfrm>
              <a:custGeom>
                <a:avLst/>
                <a:gdLst>
                  <a:gd name="T0" fmla="*/ 0 w 23"/>
                  <a:gd name="T1" fmla="*/ 18 h 112"/>
                  <a:gd name="T2" fmla="*/ 0 w 23"/>
                  <a:gd name="T3" fmla="*/ 0 h 112"/>
                  <a:gd name="T4" fmla="*/ 23 w 23"/>
                  <a:gd name="T5" fmla="*/ 0 h 112"/>
                  <a:gd name="T6" fmla="*/ 23 w 23"/>
                  <a:gd name="T7" fmla="*/ 18 h 112"/>
                  <a:gd name="T8" fmla="*/ 0 w 23"/>
                  <a:gd name="T9" fmla="*/ 18 h 112"/>
                  <a:gd name="T10" fmla="*/ 23 w 23"/>
                  <a:gd name="T11" fmla="*/ 31 h 112"/>
                  <a:gd name="T12" fmla="*/ 23 w 23"/>
                  <a:gd name="T13" fmla="*/ 112 h 112"/>
                  <a:gd name="T14" fmla="*/ 0 w 23"/>
                  <a:gd name="T15" fmla="*/ 112 h 112"/>
                  <a:gd name="T16" fmla="*/ 0 w 23"/>
                  <a:gd name="T17" fmla="*/ 31 h 112"/>
                  <a:gd name="T18" fmla="*/ 23 w 23"/>
                  <a:gd name="T19" fmla="*/ 3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12">
                    <a:moveTo>
                      <a:pt x="0" y="18"/>
                    </a:moveTo>
                    <a:lnTo>
                      <a:pt x="0" y="0"/>
                    </a:lnTo>
                    <a:lnTo>
                      <a:pt x="23" y="0"/>
                    </a:lnTo>
                    <a:lnTo>
                      <a:pt x="23" y="18"/>
                    </a:lnTo>
                    <a:lnTo>
                      <a:pt x="0" y="18"/>
                    </a:lnTo>
                    <a:close/>
                    <a:moveTo>
                      <a:pt x="23" y="31"/>
                    </a:moveTo>
                    <a:lnTo>
                      <a:pt x="23" y="112"/>
                    </a:lnTo>
                    <a:lnTo>
                      <a:pt x="0" y="112"/>
                    </a:lnTo>
                    <a:lnTo>
                      <a:pt x="0" y="31"/>
                    </a:lnTo>
                    <a:lnTo>
                      <a:pt x="2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40" name="Freeform 19"/>
              <p:cNvSpPr>
                <a:spLocks/>
              </p:cNvSpPr>
              <p:nvPr/>
            </p:nvSpPr>
            <p:spPr bwMode="auto">
              <a:xfrm>
                <a:off x="1685925" y="4427538"/>
                <a:ext cx="122238" cy="133350"/>
              </a:xfrm>
              <a:custGeom>
                <a:avLst/>
                <a:gdLst>
                  <a:gd name="T0" fmla="*/ 26 w 94"/>
                  <a:gd name="T1" fmla="*/ 3 h 103"/>
                  <a:gd name="T2" fmla="*/ 26 w 94"/>
                  <a:gd name="T3" fmla="*/ 17 h 103"/>
                  <a:gd name="T4" fmla="*/ 27 w 94"/>
                  <a:gd name="T5" fmla="*/ 17 h 103"/>
                  <a:gd name="T6" fmla="*/ 40 w 94"/>
                  <a:gd name="T7" fmla="*/ 4 h 103"/>
                  <a:gd name="T8" fmla="*/ 57 w 94"/>
                  <a:gd name="T9" fmla="*/ 0 h 103"/>
                  <a:gd name="T10" fmla="*/ 76 w 94"/>
                  <a:gd name="T11" fmla="*/ 3 h 103"/>
                  <a:gd name="T12" fmla="*/ 87 w 94"/>
                  <a:gd name="T13" fmla="*/ 12 h 103"/>
                  <a:gd name="T14" fmla="*/ 92 w 94"/>
                  <a:gd name="T15" fmla="*/ 25 h 103"/>
                  <a:gd name="T16" fmla="*/ 94 w 94"/>
                  <a:gd name="T17" fmla="*/ 42 h 103"/>
                  <a:gd name="T18" fmla="*/ 94 w 94"/>
                  <a:gd name="T19" fmla="*/ 103 h 103"/>
                  <a:gd name="T20" fmla="*/ 67 w 94"/>
                  <a:gd name="T21" fmla="*/ 103 h 103"/>
                  <a:gd name="T22" fmla="*/ 67 w 94"/>
                  <a:gd name="T23" fmla="*/ 47 h 103"/>
                  <a:gd name="T24" fmla="*/ 63 w 94"/>
                  <a:gd name="T25" fmla="*/ 28 h 103"/>
                  <a:gd name="T26" fmla="*/ 49 w 94"/>
                  <a:gd name="T27" fmla="*/ 22 h 103"/>
                  <a:gd name="T28" fmla="*/ 33 w 94"/>
                  <a:gd name="T29" fmla="*/ 29 h 103"/>
                  <a:gd name="T30" fmla="*/ 28 w 94"/>
                  <a:gd name="T31" fmla="*/ 51 h 103"/>
                  <a:gd name="T32" fmla="*/ 28 w 94"/>
                  <a:gd name="T33" fmla="*/ 103 h 103"/>
                  <a:gd name="T34" fmla="*/ 0 w 94"/>
                  <a:gd name="T35" fmla="*/ 103 h 103"/>
                  <a:gd name="T36" fmla="*/ 0 w 94"/>
                  <a:gd name="T37" fmla="*/ 3 h 103"/>
                  <a:gd name="T38" fmla="*/ 26 w 94"/>
                  <a:gd name="T3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26" y="3"/>
                    </a:moveTo>
                    <a:cubicBezTo>
                      <a:pt x="26" y="17"/>
                      <a:pt x="26" y="17"/>
                      <a:pt x="26" y="17"/>
                    </a:cubicBezTo>
                    <a:cubicBezTo>
                      <a:pt x="27" y="17"/>
                      <a:pt x="27" y="17"/>
                      <a:pt x="27" y="17"/>
                    </a:cubicBezTo>
                    <a:cubicBezTo>
                      <a:pt x="30" y="11"/>
                      <a:pt x="35" y="7"/>
                      <a:pt x="40" y="4"/>
                    </a:cubicBezTo>
                    <a:cubicBezTo>
                      <a:pt x="46" y="2"/>
                      <a:pt x="52" y="0"/>
                      <a:pt x="57" y="0"/>
                    </a:cubicBezTo>
                    <a:cubicBezTo>
                      <a:pt x="65" y="0"/>
                      <a:pt x="71" y="1"/>
                      <a:pt x="76" y="3"/>
                    </a:cubicBezTo>
                    <a:cubicBezTo>
                      <a:pt x="80" y="5"/>
                      <a:pt x="84" y="8"/>
                      <a:pt x="87" y="12"/>
                    </a:cubicBezTo>
                    <a:cubicBezTo>
                      <a:pt x="89" y="15"/>
                      <a:pt x="91" y="20"/>
                      <a:pt x="92" y="25"/>
                    </a:cubicBezTo>
                    <a:cubicBezTo>
                      <a:pt x="94" y="30"/>
                      <a:pt x="94" y="35"/>
                      <a:pt x="94" y="42"/>
                    </a:cubicBezTo>
                    <a:cubicBezTo>
                      <a:pt x="94" y="103"/>
                      <a:pt x="94" y="103"/>
                      <a:pt x="94" y="103"/>
                    </a:cubicBezTo>
                    <a:cubicBezTo>
                      <a:pt x="67" y="103"/>
                      <a:pt x="67" y="103"/>
                      <a:pt x="67" y="103"/>
                    </a:cubicBezTo>
                    <a:cubicBezTo>
                      <a:pt x="67" y="47"/>
                      <a:pt x="67" y="47"/>
                      <a:pt x="67" y="47"/>
                    </a:cubicBezTo>
                    <a:cubicBezTo>
                      <a:pt x="67" y="38"/>
                      <a:pt x="65" y="32"/>
                      <a:pt x="63" y="28"/>
                    </a:cubicBezTo>
                    <a:cubicBezTo>
                      <a:pt x="60" y="24"/>
                      <a:pt x="56" y="22"/>
                      <a:pt x="49" y="22"/>
                    </a:cubicBezTo>
                    <a:cubicBezTo>
                      <a:pt x="41" y="22"/>
                      <a:pt x="36" y="24"/>
                      <a:pt x="33" y="29"/>
                    </a:cubicBezTo>
                    <a:cubicBezTo>
                      <a:pt x="29" y="33"/>
                      <a:pt x="28" y="41"/>
                      <a:pt x="28" y="51"/>
                    </a:cubicBezTo>
                    <a:cubicBezTo>
                      <a:pt x="28" y="103"/>
                      <a:pt x="28" y="103"/>
                      <a:pt x="28" y="103"/>
                    </a:cubicBezTo>
                    <a:cubicBezTo>
                      <a:pt x="0" y="103"/>
                      <a:pt x="0" y="103"/>
                      <a:pt x="0" y="103"/>
                    </a:cubicBezTo>
                    <a:cubicBezTo>
                      <a:pt x="0" y="3"/>
                      <a:pt x="0" y="3"/>
                      <a:pt x="0" y="3"/>
                    </a:cubicBez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41" name="Freeform 20"/>
              <p:cNvSpPr>
                <a:spLocks noEditPoints="1"/>
              </p:cNvSpPr>
              <p:nvPr/>
            </p:nvSpPr>
            <p:spPr bwMode="auto">
              <a:xfrm>
                <a:off x="1824038" y="4427538"/>
                <a:ext cx="128588" cy="136525"/>
              </a:xfrm>
              <a:custGeom>
                <a:avLst/>
                <a:gdLst>
                  <a:gd name="T0" fmla="*/ 34 w 100"/>
                  <a:gd name="T1" fmla="*/ 79 h 106"/>
                  <a:gd name="T2" fmla="*/ 52 w 100"/>
                  <a:gd name="T3" fmla="*/ 85 h 106"/>
                  <a:gd name="T4" fmla="*/ 67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4 w 100"/>
                  <a:gd name="T19" fmla="*/ 75 h 106"/>
                  <a:gd name="T20" fmla="*/ 0 w 100"/>
                  <a:gd name="T21" fmla="*/ 53 h 106"/>
                  <a:gd name="T22" fmla="*/ 4 w 100"/>
                  <a:gd name="T23" fmla="*/ 32 h 106"/>
                  <a:gd name="T24" fmla="*/ 14 w 100"/>
                  <a:gd name="T25" fmla="*/ 16 h 106"/>
                  <a:gd name="T26" fmla="*/ 31 w 100"/>
                  <a:gd name="T27" fmla="*/ 4 h 106"/>
                  <a:gd name="T28" fmla="*/ 51 w 100"/>
                  <a:gd name="T29" fmla="*/ 0 h 106"/>
                  <a:gd name="T30" fmla="*/ 74 w 100"/>
                  <a:gd name="T31" fmla="*/ 5 h 106"/>
                  <a:gd name="T32" fmla="*/ 89 w 100"/>
                  <a:gd name="T33" fmla="*/ 19 h 106"/>
                  <a:gd name="T34" fmla="*/ 98 w 100"/>
                  <a:gd name="T35" fmla="*/ 38 h 106"/>
                  <a:gd name="T36" fmla="*/ 100 w 100"/>
                  <a:gd name="T37" fmla="*/ 60 h 106"/>
                  <a:gd name="T38" fmla="*/ 28 w 100"/>
                  <a:gd name="T39" fmla="*/ 60 h 106"/>
                  <a:gd name="T40" fmla="*/ 34 w 100"/>
                  <a:gd name="T41" fmla="*/ 79 h 106"/>
                  <a:gd name="T42" fmla="*/ 66 w 100"/>
                  <a:gd name="T43" fmla="*/ 27 h 106"/>
                  <a:gd name="T44" fmla="*/ 51 w 100"/>
                  <a:gd name="T45" fmla="*/ 21 h 106"/>
                  <a:gd name="T46" fmla="*/ 40 w 100"/>
                  <a:gd name="T47" fmla="*/ 23 h 106"/>
                  <a:gd name="T48" fmla="*/ 33 w 100"/>
                  <a:gd name="T49" fmla="*/ 29 h 106"/>
                  <a:gd name="T50" fmla="*/ 29 w 100"/>
                  <a:gd name="T51" fmla="*/ 36 h 106"/>
                  <a:gd name="T52" fmla="*/ 28 w 100"/>
                  <a:gd name="T53" fmla="*/ 42 h 106"/>
                  <a:gd name="T54" fmla="*/ 72 w 100"/>
                  <a:gd name="T55" fmla="*/ 42 h 106"/>
                  <a:gd name="T56" fmla="*/ 66 w 100"/>
                  <a:gd name="T57" fmla="*/ 2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8" y="93"/>
                      <a:pt x="80" y="98"/>
                    </a:cubicBezTo>
                    <a:cubicBezTo>
                      <a:pt x="72" y="103"/>
                      <a:pt x="63" y="106"/>
                      <a:pt x="51" y="106"/>
                    </a:cubicBezTo>
                    <a:cubicBezTo>
                      <a:pt x="43" y="106"/>
                      <a:pt x="36" y="104"/>
                      <a:pt x="30" y="102"/>
                    </a:cubicBezTo>
                    <a:cubicBezTo>
                      <a:pt x="24" y="99"/>
                      <a:pt x="18" y="96"/>
                      <a:pt x="14" y="91"/>
                    </a:cubicBezTo>
                    <a:cubicBezTo>
                      <a:pt x="10" y="87"/>
                      <a:pt x="6" y="81"/>
                      <a:pt x="4" y="75"/>
                    </a:cubicBezTo>
                    <a:cubicBezTo>
                      <a:pt x="1" y="68"/>
                      <a:pt x="0" y="61"/>
                      <a:pt x="0" y="53"/>
                    </a:cubicBezTo>
                    <a:cubicBezTo>
                      <a:pt x="0" y="46"/>
                      <a:pt x="1" y="39"/>
                      <a:pt x="4" y="32"/>
                    </a:cubicBezTo>
                    <a:cubicBezTo>
                      <a:pt x="6" y="26"/>
                      <a:pt x="10" y="20"/>
                      <a:pt x="14" y="16"/>
                    </a:cubicBezTo>
                    <a:cubicBezTo>
                      <a:pt x="19" y="11"/>
                      <a:pt x="24" y="7"/>
                      <a:pt x="31" y="4"/>
                    </a:cubicBezTo>
                    <a:cubicBezTo>
                      <a:pt x="37" y="2"/>
                      <a:pt x="44" y="0"/>
                      <a:pt x="51" y="0"/>
                    </a:cubicBezTo>
                    <a:cubicBezTo>
                      <a:pt x="60" y="0"/>
                      <a:pt x="67" y="2"/>
                      <a:pt x="74" y="5"/>
                    </a:cubicBezTo>
                    <a:cubicBezTo>
                      <a:pt x="80" y="9"/>
                      <a:pt x="85" y="13"/>
                      <a:pt x="89" y="19"/>
                    </a:cubicBezTo>
                    <a:cubicBezTo>
                      <a:pt x="93" y="24"/>
                      <a:pt x="96" y="30"/>
                      <a:pt x="98" y="38"/>
                    </a:cubicBezTo>
                    <a:cubicBezTo>
                      <a:pt x="100" y="45"/>
                      <a:pt x="100" y="52"/>
                      <a:pt x="100" y="60"/>
                    </a:cubicBezTo>
                    <a:cubicBezTo>
                      <a:pt x="28" y="60"/>
                      <a:pt x="28" y="60"/>
                      <a:pt x="28" y="60"/>
                    </a:cubicBezTo>
                    <a:cubicBezTo>
                      <a:pt x="28" y="69"/>
                      <a:pt x="30" y="75"/>
                      <a:pt x="34" y="79"/>
                    </a:cubicBezTo>
                    <a:close/>
                    <a:moveTo>
                      <a:pt x="66" y="27"/>
                    </a:moveTo>
                    <a:cubicBezTo>
                      <a:pt x="62" y="23"/>
                      <a:pt x="57" y="21"/>
                      <a:pt x="51" y="21"/>
                    </a:cubicBezTo>
                    <a:cubicBezTo>
                      <a:pt x="46" y="21"/>
                      <a:pt x="43" y="22"/>
                      <a:pt x="40" y="23"/>
                    </a:cubicBezTo>
                    <a:cubicBezTo>
                      <a:pt x="37" y="25"/>
                      <a:pt x="34" y="27"/>
                      <a:pt x="33" y="29"/>
                    </a:cubicBezTo>
                    <a:cubicBezTo>
                      <a:pt x="31" y="31"/>
                      <a:pt x="30" y="33"/>
                      <a:pt x="29" y="36"/>
                    </a:cubicBezTo>
                    <a:cubicBezTo>
                      <a:pt x="28" y="38"/>
                      <a:pt x="28" y="40"/>
                      <a:pt x="28" y="42"/>
                    </a:cubicBezTo>
                    <a:cubicBezTo>
                      <a:pt x="72" y="42"/>
                      <a:pt x="72" y="42"/>
                      <a:pt x="72" y="42"/>
                    </a:cubicBezTo>
                    <a:cubicBezTo>
                      <a:pt x="71" y="35"/>
                      <a:pt x="69" y="30"/>
                      <a:pt x="6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42" name="Freeform 21"/>
              <p:cNvSpPr>
                <a:spLocks/>
              </p:cNvSpPr>
              <p:nvPr/>
            </p:nvSpPr>
            <p:spPr bwMode="auto">
              <a:xfrm>
                <a:off x="1963738" y="4427538"/>
                <a:ext cx="119063" cy="136525"/>
              </a:xfrm>
              <a:custGeom>
                <a:avLst/>
                <a:gdLst>
                  <a:gd name="T0" fmla="*/ 28 w 93"/>
                  <a:gd name="T1" fmla="*/ 78 h 106"/>
                  <a:gd name="T2" fmla="*/ 33 w 93"/>
                  <a:gd name="T3" fmla="*/ 84 h 106"/>
                  <a:gd name="T4" fmla="*/ 39 w 93"/>
                  <a:gd name="T5" fmla="*/ 87 h 106"/>
                  <a:gd name="T6" fmla="*/ 47 w 93"/>
                  <a:gd name="T7" fmla="*/ 88 h 106"/>
                  <a:gd name="T8" fmla="*/ 53 w 93"/>
                  <a:gd name="T9" fmla="*/ 87 h 106"/>
                  <a:gd name="T10" fmla="*/ 59 w 93"/>
                  <a:gd name="T11" fmla="*/ 85 h 106"/>
                  <a:gd name="T12" fmla="*/ 63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4 h 106"/>
                  <a:gd name="T26" fmla="*/ 2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2 w 93"/>
                  <a:gd name="T59" fmla="*/ 34 h 106"/>
                  <a:gd name="T60" fmla="*/ 40 w 93"/>
                  <a:gd name="T61" fmla="*/ 38 h 106"/>
                  <a:gd name="T62" fmla="*/ 49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4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39" y="87"/>
                    </a:cubicBezTo>
                    <a:cubicBezTo>
                      <a:pt x="42" y="87"/>
                      <a:pt x="44" y="88"/>
                      <a:pt x="47" y="88"/>
                    </a:cubicBezTo>
                    <a:cubicBezTo>
                      <a:pt x="49" y="88"/>
                      <a:pt x="51" y="87"/>
                      <a:pt x="53" y="87"/>
                    </a:cubicBezTo>
                    <a:cubicBezTo>
                      <a:pt x="55" y="86"/>
                      <a:pt x="57" y="86"/>
                      <a:pt x="59" y="85"/>
                    </a:cubicBezTo>
                    <a:cubicBezTo>
                      <a:pt x="61" y="84"/>
                      <a:pt x="62" y="82"/>
                      <a:pt x="63" y="81"/>
                    </a:cubicBezTo>
                    <a:cubicBezTo>
                      <a:pt x="65" y="79"/>
                      <a:pt x="65" y="77"/>
                      <a:pt x="65" y="75"/>
                    </a:cubicBezTo>
                    <a:cubicBezTo>
                      <a:pt x="65" y="71"/>
                      <a:pt x="62" y="68"/>
                      <a:pt x="57" y="65"/>
                    </a:cubicBezTo>
                    <a:cubicBezTo>
                      <a:pt x="51" y="63"/>
                      <a:pt x="44" y="61"/>
                      <a:pt x="34" y="59"/>
                    </a:cubicBezTo>
                    <a:cubicBezTo>
                      <a:pt x="30" y="58"/>
                      <a:pt x="26" y="57"/>
                      <a:pt x="22" y="56"/>
                    </a:cubicBezTo>
                    <a:cubicBezTo>
                      <a:pt x="18" y="55"/>
                      <a:pt x="15" y="53"/>
                      <a:pt x="12" y="51"/>
                    </a:cubicBezTo>
                    <a:cubicBezTo>
                      <a:pt x="9" y="49"/>
                      <a:pt x="7" y="47"/>
                      <a:pt x="5" y="44"/>
                    </a:cubicBezTo>
                    <a:cubicBezTo>
                      <a:pt x="3" y="41"/>
                      <a:pt x="2" y="37"/>
                      <a:pt x="2" y="33"/>
                    </a:cubicBezTo>
                    <a:cubicBezTo>
                      <a:pt x="2" y="26"/>
                      <a:pt x="3" y="21"/>
                      <a:pt x="6" y="17"/>
                    </a:cubicBezTo>
                    <a:cubicBezTo>
                      <a:pt x="9" y="13"/>
                      <a:pt x="12" y="9"/>
                      <a:pt x="16" y="7"/>
                    </a:cubicBezTo>
                    <a:cubicBezTo>
                      <a:pt x="20" y="4"/>
                      <a:pt x="25" y="3"/>
                      <a:pt x="30" y="2"/>
                    </a:cubicBezTo>
                    <a:cubicBezTo>
                      <a:pt x="35" y="1"/>
                      <a:pt x="40" y="0"/>
                      <a:pt x="46" y="0"/>
                    </a:cubicBezTo>
                    <a:cubicBezTo>
                      <a:pt x="51" y="0"/>
                      <a:pt x="56" y="1"/>
                      <a:pt x="62" y="2"/>
                    </a:cubicBezTo>
                    <a:cubicBezTo>
                      <a:pt x="67" y="3"/>
                      <a:pt x="71" y="5"/>
                      <a:pt x="75" y="7"/>
                    </a:cubicBezTo>
                    <a:cubicBezTo>
                      <a:pt x="79" y="10"/>
                      <a:pt x="83" y="13"/>
                      <a:pt x="85" y="17"/>
                    </a:cubicBezTo>
                    <a:cubicBezTo>
                      <a:pt x="88" y="21"/>
                      <a:pt x="89" y="26"/>
                      <a:pt x="90" y="32"/>
                    </a:cubicBezTo>
                    <a:cubicBezTo>
                      <a:pt x="64" y="32"/>
                      <a:pt x="64" y="32"/>
                      <a:pt x="64" y="32"/>
                    </a:cubicBezTo>
                    <a:cubicBezTo>
                      <a:pt x="63" y="27"/>
                      <a:pt x="61" y="23"/>
                      <a:pt x="58" y="22"/>
                    </a:cubicBezTo>
                    <a:cubicBezTo>
                      <a:pt x="54" y="20"/>
                      <a:pt x="50" y="19"/>
                      <a:pt x="45" y="19"/>
                    </a:cubicBezTo>
                    <a:cubicBezTo>
                      <a:pt x="43" y="19"/>
                      <a:pt x="42" y="19"/>
                      <a:pt x="40" y="19"/>
                    </a:cubicBezTo>
                    <a:cubicBezTo>
                      <a:pt x="38" y="19"/>
                      <a:pt x="37" y="20"/>
                      <a:pt x="35" y="20"/>
                    </a:cubicBezTo>
                    <a:cubicBezTo>
                      <a:pt x="34" y="21"/>
                      <a:pt x="32" y="22"/>
                      <a:pt x="31" y="23"/>
                    </a:cubicBezTo>
                    <a:cubicBezTo>
                      <a:pt x="30" y="24"/>
                      <a:pt x="30" y="26"/>
                      <a:pt x="30" y="28"/>
                    </a:cubicBezTo>
                    <a:cubicBezTo>
                      <a:pt x="30" y="31"/>
                      <a:pt x="31" y="33"/>
                      <a:pt x="32" y="34"/>
                    </a:cubicBezTo>
                    <a:cubicBezTo>
                      <a:pt x="34" y="36"/>
                      <a:pt x="37" y="37"/>
                      <a:pt x="40" y="38"/>
                    </a:cubicBezTo>
                    <a:cubicBezTo>
                      <a:pt x="42" y="39"/>
                      <a:pt x="46" y="40"/>
                      <a:pt x="49" y="40"/>
                    </a:cubicBezTo>
                    <a:cubicBezTo>
                      <a:pt x="53" y="41"/>
                      <a:pt x="57" y="42"/>
                      <a:pt x="61" y="43"/>
                    </a:cubicBezTo>
                    <a:cubicBezTo>
                      <a:pt x="65" y="44"/>
                      <a:pt x="69" y="45"/>
                      <a:pt x="73" y="46"/>
                    </a:cubicBezTo>
                    <a:cubicBezTo>
                      <a:pt x="76" y="48"/>
                      <a:pt x="80" y="49"/>
                      <a:pt x="83" y="51"/>
                    </a:cubicBezTo>
                    <a:cubicBezTo>
                      <a:pt x="86" y="54"/>
                      <a:pt x="88" y="56"/>
                      <a:pt x="90" y="59"/>
                    </a:cubicBezTo>
                    <a:cubicBezTo>
                      <a:pt x="92" y="63"/>
                      <a:pt x="93" y="66"/>
                      <a:pt x="93" y="71"/>
                    </a:cubicBezTo>
                    <a:cubicBezTo>
                      <a:pt x="93" y="78"/>
                      <a:pt x="91" y="83"/>
                      <a:pt x="89" y="88"/>
                    </a:cubicBezTo>
                    <a:cubicBezTo>
                      <a:pt x="86" y="92"/>
                      <a:pt x="83" y="96"/>
                      <a:pt x="78" y="98"/>
                    </a:cubicBezTo>
                    <a:cubicBezTo>
                      <a:pt x="74" y="101"/>
                      <a:pt x="69" y="103"/>
                      <a:pt x="64" y="104"/>
                    </a:cubicBezTo>
                    <a:cubicBezTo>
                      <a:pt x="58" y="105"/>
                      <a:pt x="53" y="106"/>
                      <a:pt x="47" y="106"/>
                    </a:cubicBezTo>
                    <a:cubicBezTo>
                      <a:pt x="41" y="106"/>
                      <a:pt x="35" y="105"/>
                      <a:pt x="30" y="104"/>
                    </a:cubicBezTo>
                    <a:cubicBezTo>
                      <a:pt x="24" y="103"/>
                      <a:pt x="19" y="101"/>
                      <a:pt x="15" y="98"/>
                    </a:cubicBezTo>
                    <a:cubicBezTo>
                      <a:pt x="11" y="95"/>
                      <a:pt x="7" y="92"/>
                      <a:pt x="4" y="87"/>
                    </a:cubicBezTo>
                    <a:cubicBezTo>
                      <a:pt x="2" y="83"/>
                      <a:pt x="0" y="77"/>
                      <a:pt x="0" y="71"/>
                    </a:cubicBezTo>
                    <a:cubicBezTo>
                      <a:pt x="26" y="71"/>
                      <a:pt x="26" y="71"/>
                      <a:pt x="26" y="71"/>
                    </a:cubicBezTo>
                    <a:cubicBezTo>
                      <a:pt x="26" y="74"/>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43" name="Freeform 22"/>
              <p:cNvSpPr>
                <a:spLocks/>
              </p:cNvSpPr>
              <p:nvPr/>
            </p:nvSpPr>
            <p:spPr bwMode="auto">
              <a:xfrm>
                <a:off x="2093913" y="4427538"/>
                <a:ext cx="119063" cy="136525"/>
              </a:xfrm>
              <a:custGeom>
                <a:avLst/>
                <a:gdLst>
                  <a:gd name="T0" fmla="*/ 27 w 92"/>
                  <a:gd name="T1" fmla="*/ 78 h 106"/>
                  <a:gd name="T2" fmla="*/ 32 w 92"/>
                  <a:gd name="T3" fmla="*/ 84 h 106"/>
                  <a:gd name="T4" fmla="*/ 39 w 92"/>
                  <a:gd name="T5" fmla="*/ 87 h 106"/>
                  <a:gd name="T6" fmla="*/ 47 w 92"/>
                  <a:gd name="T7" fmla="*/ 88 h 106"/>
                  <a:gd name="T8" fmla="*/ 53 w 92"/>
                  <a:gd name="T9" fmla="*/ 87 h 106"/>
                  <a:gd name="T10" fmla="*/ 59 w 92"/>
                  <a:gd name="T11" fmla="*/ 85 h 106"/>
                  <a:gd name="T12" fmla="*/ 63 w 92"/>
                  <a:gd name="T13" fmla="*/ 81 h 106"/>
                  <a:gd name="T14" fmla="*/ 65 w 92"/>
                  <a:gd name="T15" fmla="*/ 75 h 106"/>
                  <a:gd name="T16" fmla="*/ 57 w 92"/>
                  <a:gd name="T17" fmla="*/ 65 h 106"/>
                  <a:gd name="T18" fmla="*/ 34 w 92"/>
                  <a:gd name="T19" fmla="*/ 59 h 106"/>
                  <a:gd name="T20" fmla="*/ 22 w 92"/>
                  <a:gd name="T21" fmla="*/ 56 h 106"/>
                  <a:gd name="T22" fmla="*/ 12 w 92"/>
                  <a:gd name="T23" fmla="*/ 51 h 106"/>
                  <a:gd name="T24" fmla="*/ 5 w 92"/>
                  <a:gd name="T25" fmla="*/ 44 h 106"/>
                  <a:gd name="T26" fmla="*/ 2 w 92"/>
                  <a:gd name="T27" fmla="*/ 33 h 106"/>
                  <a:gd name="T28" fmla="*/ 6 w 92"/>
                  <a:gd name="T29" fmla="*/ 17 h 106"/>
                  <a:gd name="T30" fmla="*/ 16 w 92"/>
                  <a:gd name="T31" fmla="*/ 7 h 106"/>
                  <a:gd name="T32" fmla="*/ 30 w 92"/>
                  <a:gd name="T33" fmla="*/ 2 h 106"/>
                  <a:gd name="T34" fmla="*/ 45 w 92"/>
                  <a:gd name="T35" fmla="*/ 0 h 106"/>
                  <a:gd name="T36" fmla="*/ 61 w 92"/>
                  <a:gd name="T37" fmla="*/ 2 h 106"/>
                  <a:gd name="T38" fmla="*/ 75 w 92"/>
                  <a:gd name="T39" fmla="*/ 7 h 106"/>
                  <a:gd name="T40" fmla="*/ 85 w 92"/>
                  <a:gd name="T41" fmla="*/ 17 h 106"/>
                  <a:gd name="T42" fmla="*/ 90 w 92"/>
                  <a:gd name="T43" fmla="*/ 32 h 106"/>
                  <a:gd name="T44" fmla="*/ 63 w 92"/>
                  <a:gd name="T45" fmla="*/ 32 h 106"/>
                  <a:gd name="T46" fmla="*/ 57 w 92"/>
                  <a:gd name="T47" fmla="*/ 22 h 106"/>
                  <a:gd name="T48" fmla="*/ 45 w 92"/>
                  <a:gd name="T49" fmla="*/ 19 h 106"/>
                  <a:gd name="T50" fmla="*/ 40 w 92"/>
                  <a:gd name="T51" fmla="*/ 19 h 106"/>
                  <a:gd name="T52" fmla="*/ 35 w 92"/>
                  <a:gd name="T53" fmla="*/ 20 h 106"/>
                  <a:gd name="T54" fmla="*/ 31 w 92"/>
                  <a:gd name="T55" fmla="*/ 23 h 106"/>
                  <a:gd name="T56" fmla="*/ 29 w 92"/>
                  <a:gd name="T57" fmla="*/ 28 h 106"/>
                  <a:gd name="T58" fmla="*/ 32 w 92"/>
                  <a:gd name="T59" fmla="*/ 34 h 106"/>
                  <a:gd name="T60" fmla="*/ 39 w 92"/>
                  <a:gd name="T61" fmla="*/ 38 h 106"/>
                  <a:gd name="T62" fmla="*/ 49 w 92"/>
                  <a:gd name="T63" fmla="*/ 40 h 106"/>
                  <a:gd name="T64" fmla="*/ 61 w 92"/>
                  <a:gd name="T65" fmla="*/ 43 h 106"/>
                  <a:gd name="T66" fmla="*/ 72 w 92"/>
                  <a:gd name="T67" fmla="*/ 46 h 106"/>
                  <a:gd name="T68" fmla="*/ 82 w 92"/>
                  <a:gd name="T69" fmla="*/ 51 h 106"/>
                  <a:gd name="T70" fmla="*/ 90 w 92"/>
                  <a:gd name="T71" fmla="*/ 59 h 106"/>
                  <a:gd name="T72" fmla="*/ 92 w 92"/>
                  <a:gd name="T73" fmla="*/ 71 h 106"/>
                  <a:gd name="T74" fmla="*/ 88 w 92"/>
                  <a:gd name="T75" fmla="*/ 88 h 106"/>
                  <a:gd name="T76" fmla="*/ 78 w 92"/>
                  <a:gd name="T77" fmla="*/ 98 h 106"/>
                  <a:gd name="T78" fmla="*/ 63 w 92"/>
                  <a:gd name="T79" fmla="*/ 104 h 106"/>
                  <a:gd name="T80" fmla="*/ 47 w 92"/>
                  <a:gd name="T81" fmla="*/ 106 h 106"/>
                  <a:gd name="T82" fmla="*/ 30 w 92"/>
                  <a:gd name="T83" fmla="*/ 104 h 106"/>
                  <a:gd name="T84" fmla="*/ 15 w 92"/>
                  <a:gd name="T85" fmla="*/ 98 h 106"/>
                  <a:gd name="T86" fmla="*/ 4 w 92"/>
                  <a:gd name="T87" fmla="*/ 87 h 106"/>
                  <a:gd name="T88" fmla="*/ 0 w 92"/>
                  <a:gd name="T89" fmla="*/ 71 h 106"/>
                  <a:gd name="T90" fmla="*/ 26 w 92"/>
                  <a:gd name="T91" fmla="*/ 71 h 106"/>
                  <a:gd name="T92" fmla="*/ 27 w 92"/>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06">
                    <a:moveTo>
                      <a:pt x="27" y="78"/>
                    </a:moveTo>
                    <a:cubicBezTo>
                      <a:pt x="29" y="80"/>
                      <a:pt x="30" y="82"/>
                      <a:pt x="32" y="84"/>
                    </a:cubicBezTo>
                    <a:cubicBezTo>
                      <a:pt x="34" y="85"/>
                      <a:pt x="36" y="86"/>
                      <a:pt x="39" y="87"/>
                    </a:cubicBezTo>
                    <a:cubicBezTo>
                      <a:pt x="41" y="87"/>
                      <a:pt x="44" y="88"/>
                      <a:pt x="47" y="88"/>
                    </a:cubicBezTo>
                    <a:cubicBezTo>
                      <a:pt x="49" y="88"/>
                      <a:pt x="51" y="87"/>
                      <a:pt x="53" y="87"/>
                    </a:cubicBezTo>
                    <a:cubicBezTo>
                      <a:pt x="55" y="86"/>
                      <a:pt x="57" y="86"/>
                      <a:pt x="59" y="85"/>
                    </a:cubicBezTo>
                    <a:cubicBezTo>
                      <a:pt x="60" y="84"/>
                      <a:pt x="62" y="82"/>
                      <a:pt x="63" y="81"/>
                    </a:cubicBezTo>
                    <a:cubicBezTo>
                      <a:pt x="64" y="79"/>
                      <a:pt x="65" y="77"/>
                      <a:pt x="65" y="75"/>
                    </a:cubicBezTo>
                    <a:cubicBezTo>
                      <a:pt x="65" y="71"/>
                      <a:pt x="62" y="68"/>
                      <a:pt x="57" y="65"/>
                    </a:cubicBezTo>
                    <a:cubicBezTo>
                      <a:pt x="51" y="63"/>
                      <a:pt x="43" y="61"/>
                      <a:pt x="34" y="59"/>
                    </a:cubicBezTo>
                    <a:cubicBezTo>
                      <a:pt x="30" y="58"/>
                      <a:pt x="26" y="57"/>
                      <a:pt x="22" y="56"/>
                    </a:cubicBezTo>
                    <a:cubicBezTo>
                      <a:pt x="18" y="55"/>
                      <a:pt x="15" y="53"/>
                      <a:pt x="12" y="51"/>
                    </a:cubicBezTo>
                    <a:cubicBezTo>
                      <a:pt x="9" y="49"/>
                      <a:pt x="6" y="47"/>
                      <a:pt x="5" y="44"/>
                    </a:cubicBezTo>
                    <a:cubicBezTo>
                      <a:pt x="3" y="41"/>
                      <a:pt x="2" y="37"/>
                      <a:pt x="2" y="33"/>
                    </a:cubicBezTo>
                    <a:cubicBezTo>
                      <a:pt x="2" y="26"/>
                      <a:pt x="3" y="21"/>
                      <a:pt x="6" y="17"/>
                    </a:cubicBezTo>
                    <a:cubicBezTo>
                      <a:pt x="8" y="13"/>
                      <a:pt x="11" y="9"/>
                      <a:pt x="16" y="7"/>
                    </a:cubicBezTo>
                    <a:cubicBezTo>
                      <a:pt x="20" y="4"/>
                      <a:pt x="24" y="3"/>
                      <a:pt x="30" y="2"/>
                    </a:cubicBezTo>
                    <a:cubicBezTo>
                      <a:pt x="35" y="1"/>
                      <a:pt x="40" y="0"/>
                      <a:pt x="45" y="0"/>
                    </a:cubicBezTo>
                    <a:cubicBezTo>
                      <a:pt x="51" y="0"/>
                      <a:pt x="56" y="1"/>
                      <a:pt x="61" y="2"/>
                    </a:cubicBezTo>
                    <a:cubicBezTo>
                      <a:pt x="66" y="3"/>
                      <a:pt x="71" y="5"/>
                      <a:pt x="75" y="7"/>
                    </a:cubicBezTo>
                    <a:cubicBezTo>
                      <a:pt x="79" y="10"/>
                      <a:pt x="82" y="13"/>
                      <a:pt x="85" y="17"/>
                    </a:cubicBezTo>
                    <a:cubicBezTo>
                      <a:pt x="87" y="21"/>
                      <a:pt x="89" y="26"/>
                      <a:pt x="90" y="32"/>
                    </a:cubicBezTo>
                    <a:cubicBezTo>
                      <a:pt x="63" y="32"/>
                      <a:pt x="63" y="32"/>
                      <a:pt x="63" y="32"/>
                    </a:cubicBezTo>
                    <a:cubicBezTo>
                      <a:pt x="63" y="27"/>
                      <a:pt x="61" y="23"/>
                      <a:pt x="57" y="22"/>
                    </a:cubicBezTo>
                    <a:cubicBezTo>
                      <a:pt x="54" y="20"/>
                      <a:pt x="50" y="19"/>
                      <a:pt x="45" y="19"/>
                    </a:cubicBezTo>
                    <a:cubicBezTo>
                      <a:pt x="43" y="19"/>
                      <a:pt x="41" y="19"/>
                      <a:pt x="40" y="19"/>
                    </a:cubicBezTo>
                    <a:cubicBezTo>
                      <a:pt x="38" y="19"/>
                      <a:pt x="36" y="20"/>
                      <a:pt x="35" y="20"/>
                    </a:cubicBezTo>
                    <a:cubicBezTo>
                      <a:pt x="33" y="21"/>
                      <a:pt x="32" y="22"/>
                      <a:pt x="31" y="23"/>
                    </a:cubicBezTo>
                    <a:cubicBezTo>
                      <a:pt x="30" y="24"/>
                      <a:pt x="29" y="26"/>
                      <a:pt x="29" y="28"/>
                    </a:cubicBezTo>
                    <a:cubicBezTo>
                      <a:pt x="29" y="31"/>
                      <a:pt x="30" y="33"/>
                      <a:pt x="32" y="34"/>
                    </a:cubicBezTo>
                    <a:cubicBezTo>
                      <a:pt x="34" y="36"/>
                      <a:pt x="36" y="37"/>
                      <a:pt x="39" y="38"/>
                    </a:cubicBezTo>
                    <a:cubicBezTo>
                      <a:pt x="42" y="39"/>
                      <a:pt x="45" y="40"/>
                      <a:pt x="49" y="40"/>
                    </a:cubicBezTo>
                    <a:cubicBezTo>
                      <a:pt x="53" y="41"/>
                      <a:pt x="57" y="42"/>
                      <a:pt x="61" y="43"/>
                    </a:cubicBezTo>
                    <a:cubicBezTo>
                      <a:pt x="65" y="44"/>
                      <a:pt x="68" y="45"/>
                      <a:pt x="72" y="46"/>
                    </a:cubicBezTo>
                    <a:cubicBezTo>
                      <a:pt x="76" y="48"/>
                      <a:pt x="79" y="49"/>
                      <a:pt x="82" y="51"/>
                    </a:cubicBezTo>
                    <a:cubicBezTo>
                      <a:pt x="85" y="54"/>
                      <a:pt x="88" y="56"/>
                      <a:pt x="90" y="59"/>
                    </a:cubicBezTo>
                    <a:cubicBezTo>
                      <a:pt x="91" y="63"/>
                      <a:pt x="92" y="66"/>
                      <a:pt x="92" y="71"/>
                    </a:cubicBezTo>
                    <a:cubicBezTo>
                      <a:pt x="92" y="78"/>
                      <a:pt x="91" y="83"/>
                      <a:pt x="88" y="88"/>
                    </a:cubicBezTo>
                    <a:cubicBezTo>
                      <a:pt x="86" y="92"/>
                      <a:pt x="82" y="96"/>
                      <a:pt x="78" y="98"/>
                    </a:cubicBezTo>
                    <a:cubicBezTo>
                      <a:pt x="74" y="101"/>
                      <a:pt x="69" y="103"/>
                      <a:pt x="63" y="104"/>
                    </a:cubicBezTo>
                    <a:cubicBezTo>
                      <a:pt x="58" y="105"/>
                      <a:pt x="52" y="106"/>
                      <a:pt x="47" y="106"/>
                    </a:cubicBezTo>
                    <a:cubicBezTo>
                      <a:pt x="41" y="106"/>
                      <a:pt x="35" y="105"/>
                      <a:pt x="30" y="104"/>
                    </a:cubicBezTo>
                    <a:cubicBezTo>
                      <a:pt x="24" y="103"/>
                      <a:pt x="19" y="101"/>
                      <a:pt x="15" y="98"/>
                    </a:cubicBezTo>
                    <a:cubicBezTo>
                      <a:pt x="10" y="95"/>
                      <a:pt x="7" y="92"/>
                      <a:pt x="4" y="87"/>
                    </a:cubicBezTo>
                    <a:cubicBezTo>
                      <a:pt x="1" y="83"/>
                      <a:pt x="0" y="77"/>
                      <a:pt x="0" y="71"/>
                    </a:cubicBezTo>
                    <a:cubicBezTo>
                      <a:pt x="26" y="71"/>
                      <a:pt x="26" y="71"/>
                      <a:pt x="26" y="71"/>
                    </a:cubicBezTo>
                    <a:cubicBezTo>
                      <a:pt x="26" y="74"/>
                      <a:pt x="26" y="76"/>
                      <a:pt x="2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44" name="Freeform 23"/>
              <p:cNvSpPr>
                <a:spLocks/>
              </p:cNvSpPr>
              <p:nvPr/>
            </p:nvSpPr>
            <p:spPr bwMode="auto">
              <a:xfrm>
                <a:off x="1173163" y="4627563"/>
                <a:ext cx="150813" cy="187325"/>
              </a:xfrm>
              <a:custGeom>
                <a:avLst/>
                <a:gdLst>
                  <a:gd name="T0" fmla="*/ 32 w 117"/>
                  <a:gd name="T1" fmla="*/ 108 h 145"/>
                  <a:gd name="T2" fmla="*/ 39 w 117"/>
                  <a:gd name="T3" fmla="*/ 116 h 145"/>
                  <a:gd name="T4" fmla="*/ 49 w 117"/>
                  <a:gd name="T5" fmla="*/ 120 h 145"/>
                  <a:gd name="T6" fmla="*/ 60 w 117"/>
                  <a:gd name="T7" fmla="*/ 122 h 145"/>
                  <a:gd name="T8" fmla="*/ 69 w 117"/>
                  <a:gd name="T9" fmla="*/ 121 h 145"/>
                  <a:gd name="T10" fmla="*/ 78 w 117"/>
                  <a:gd name="T11" fmla="*/ 118 h 145"/>
                  <a:gd name="T12" fmla="*/ 84 w 117"/>
                  <a:gd name="T13" fmla="*/ 113 h 145"/>
                  <a:gd name="T14" fmla="*/ 87 w 117"/>
                  <a:gd name="T15" fmla="*/ 104 h 145"/>
                  <a:gd name="T16" fmla="*/ 84 w 117"/>
                  <a:gd name="T17" fmla="*/ 95 h 145"/>
                  <a:gd name="T18" fmla="*/ 74 w 117"/>
                  <a:gd name="T19" fmla="*/ 90 h 145"/>
                  <a:gd name="T20" fmla="*/ 61 w 117"/>
                  <a:gd name="T21" fmla="*/ 85 h 145"/>
                  <a:gd name="T22" fmla="*/ 46 w 117"/>
                  <a:gd name="T23" fmla="*/ 82 h 145"/>
                  <a:gd name="T24" fmla="*/ 31 w 117"/>
                  <a:gd name="T25" fmla="*/ 77 h 145"/>
                  <a:gd name="T26" fmla="*/ 18 w 117"/>
                  <a:gd name="T27" fmla="*/ 70 h 145"/>
                  <a:gd name="T28" fmla="*/ 8 w 117"/>
                  <a:gd name="T29" fmla="*/ 58 h 145"/>
                  <a:gd name="T30" fmla="*/ 5 w 117"/>
                  <a:gd name="T31" fmla="*/ 42 h 145"/>
                  <a:gd name="T32" fmla="*/ 9 w 117"/>
                  <a:gd name="T33" fmla="*/ 24 h 145"/>
                  <a:gd name="T34" fmla="*/ 21 w 117"/>
                  <a:gd name="T35" fmla="*/ 11 h 145"/>
                  <a:gd name="T36" fmla="*/ 38 w 117"/>
                  <a:gd name="T37" fmla="*/ 3 h 145"/>
                  <a:gd name="T38" fmla="*/ 56 w 117"/>
                  <a:gd name="T39" fmla="*/ 0 h 145"/>
                  <a:gd name="T40" fmla="*/ 77 w 117"/>
                  <a:gd name="T41" fmla="*/ 3 h 145"/>
                  <a:gd name="T42" fmla="*/ 95 w 117"/>
                  <a:gd name="T43" fmla="*/ 11 h 145"/>
                  <a:gd name="T44" fmla="*/ 107 w 117"/>
                  <a:gd name="T45" fmla="*/ 25 h 145"/>
                  <a:gd name="T46" fmla="*/ 112 w 117"/>
                  <a:gd name="T47" fmla="*/ 45 h 145"/>
                  <a:gd name="T48" fmla="*/ 82 w 117"/>
                  <a:gd name="T49" fmla="*/ 45 h 145"/>
                  <a:gd name="T50" fmla="*/ 80 w 117"/>
                  <a:gd name="T51" fmla="*/ 35 h 145"/>
                  <a:gd name="T52" fmla="*/ 74 w 117"/>
                  <a:gd name="T53" fmla="*/ 28 h 145"/>
                  <a:gd name="T54" fmla="*/ 65 w 117"/>
                  <a:gd name="T55" fmla="*/ 25 h 145"/>
                  <a:gd name="T56" fmla="*/ 55 w 117"/>
                  <a:gd name="T57" fmla="*/ 24 h 145"/>
                  <a:gd name="T58" fmla="*/ 48 w 117"/>
                  <a:gd name="T59" fmla="*/ 25 h 145"/>
                  <a:gd name="T60" fmla="*/ 41 w 117"/>
                  <a:gd name="T61" fmla="*/ 28 h 145"/>
                  <a:gd name="T62" fmla="*/ 36 w 117"/>
                  <a:gd name="T63" fmla="*/ 32 h 145"/>
                  <a:gd name="T64" fmla="*/ 34 w 117"/>
                  <a:gd name="T65" fmla="*/ 40 h 145"/>
                  <a:gd name="T66" fmla="*/ 36 w 117"/>
                  <a:gd name="T67" fmla="*/ 46 h 145"/>
                  <a:gd name="T68" fmla="*/ 42 w 117"/>
                  <a:gd name="T69" fmla="*/ 51 h 145"/>
                  <a:gd name="T70" fmla="*/ 54 w 117"/>
                  <a:gd name="T71" fmla="*/ 55 h 145"/>
                  <a:gd name="T72" fmla="*/ 75 w 117"/>
                  <a:gd name="T73" fmla="*/ 61 h 145"/>
                  <a:gd name="T74" fmla="*/ 86 w 117"/>
                  <a:gd name="T75" fmla="*/ 63 h 145"/>
                  <a:gd name="T76" fmla="*/ 100 w 117"/>
                  <a:gd name="T77" fmla="*/ 70 h 145"/>
                  <a:gd name="T78" fmla="*/ 112 w 117"/>
                  <a:gd name="T79" fmla="*/ 82 h 145"/>
                  <a:gd name="T80" fmla="*/ 117 w 117"/>
                  <a:gd name="T81" fmla="*/ 101 h 145"/>
                  <a:gd name="T82" fmla="*/ 113 w 117"/>
                  <a:gd name="T83" fmla="*/ 119 h 145"/>
                  <a:gd name="T84" fmla="*/ 102 w 117"/>
                  <a:gd name="T85" fmla="*/ 133 h 145"/>
                  <a:gd name="T86" fmla="*/ 84 w 117"/>
                  <a:gd name="T87" fmla="*/ 142 h 145"/>
                  <a:gd name="T88" fmla="*/ 59 w 117"/>
                  <a:gd name="T89" fmla="*/ 145 h 145"/>
                  <a:gd name="T90" fmla="*/ 37 w 117"/>
                  <a:gd name="T91" fmla="*/ 142 h 145"/>
                  <a:gd name="T92" fmla="*/ 18 w 117"/>
                  <a:gd name="T93" fmla="*/ 134 h 145"/>
                  <a:gd name="T94" fmla="*/ 5 w 117"/>
                  <a:gd name="T95" fmla="*/ 118 h 145"/>
                  <a:gd name="T96" fmla="*/ 0 w 117"/>
                  <a:gd name="T97" fmla="*/ 96 h 145"/>
                  <a:gd name="T98" fmla="*/ 30 w 117"/>
                  <a:gd name="T99" fmla="*/ 96 h 145"/>
                  <a:gd name="T100" fmla="*/ 32 w 117"/>
                  <a:gd name="T101" fmla="*/ 10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145">
                    <a:moveTo>
                      <a:pt x="32" y="108"/>
                    </a:moveTo>
                    <a:cubicBezTo>
                      <a:pt x="34" y="111"/>
                      <a:pt x="36" y="114"/>
                      <a:pt x="39" y="116"/>
                    </a:cubicBezTo>
                    <a:cubicBezTo>
                      <a:pt x="42" y="118"/>
                      <a:pt x="45" y="119"/>
                      <a:pt x="49" y="120"/>
                    </a:cubicBezTo>
                    <a:cubicBezTo>
                      <a:pt x="52" y="121"/>
                      <a:pt x="56" y="122"/>
                      <a:pt x="60" y="122"/>
                    </a:cubicBezTo>
                    <a:cubicBezTo>
                      <a:pt x="63" y="122"/>
                      <a:pt x="66" y="121"/>
                      <a:pt x="69" y="121"/>
                    </a:cubicBezTo>
                    <a:cubicBezTo>
                      <a:pt x="72" y="121"/>
                      <a:pt x="75" y="120"/>
                      <a:pt x="78" y="118"/>
                    </a:cubicBezTo>
                    <a:cubicBezTo>
                      <a:pt x="80" y="117"/>
                      <a:pt x="83" y="115"/>
                      <a:pt x="84" y="113"/>
                    </a:cubicBezTo>
                    <a:cubicBezTo>
                      <a:pt x="86" y="111"/>
                      <a:pt x="87" y="108"/>
                      <a:pt x="87" y="104"/>
                    </a:cubicBezTo>
                    <a:cubicBezTo>
                      <a:pt x="87" y="101"/>
                      <a:pt x="86" y="98"/>
                      <a:pt x="84" y="95"/>
                    </a:cubicBezTo>
                    <a:cubicBezTo>
                      <a:pt x="81" y="93"/>
                      <a:pt x="78" y="91"/>
                      <a:pt x="74" y="90"/>
                    </a:cubicBezTo>
                    <a:cubicBezTo>
                      <a:pt x="70" y="88"/>
                      <a:pt x="66" y="87"/>
                      <a:pt x="61" y="85"/>
                    </a:cubicBezTo>
                    <a:cubicBezTo>
                      <a:pt x="56" y="84"/>
                      <a:pt x="51" y="83"/>
                      <a:pt x="46" y="82"/>
                    </a:cubicBezTo>
                    <a:cubicBezTo>
                      <a:pt x="41" y="80"/>
                      <a:pt x="36" y="79"/>
                      <a:pt x="31" y="77"/>
                    </a:cubicBezTo>
                    <a:cubicBezTo>
                      <a:pt x="26" y="75"/>
                      <a:pt x="22" y="73"/>
                      <a:pt x="18" y="70"/>
                    </a:cubicBezTo>
                    <a:cubicBezTo>
                      <a:pt x="14" y="67"/>
                      <a:pt x="11" y="63"/>
                      <a:pt x="8" y="58"/>
                    </a:cubicBezTo>
                    <a:cubicBezTo>
                      <a:pt x="6" y="54"/>
                      <a:pt x="5" y="49"/>
                      <a:pt x="5" y="42"/>
                    </a:cubicBezTo>
                    <a:cubicBezTo>
                      <a:pt x="5" y="35"/>
                      <a:pt x="6" y="29"/>
                      <a:pt x="9" y="24"/>
                    </a:cubicBezTo>
                    <a:cubicBezTo>
                      <a:pt x="12" y="19"/>
                      <a:pt x="16" y="14"/>
                      <a:pt x="21" y="11"/>
                    </a:cubicBezTo>
                    <a:cubicBezTo>
                      <a:pt x="26" y="7"/>
                      <a:pt x="32" y="5"/>
                      <a:pt x="38" y="3"/>
                    </a:cubicBezTo>
                    <a:cubicBezTo>
                      <a:pt x="44" y="1"/>
                      <a:pt x="50" y="0"/>
                      <a:pt x="56" y="0"/>
                    </a:cubicBezTo>
                    <a:cubicBezTo>
                      <a:pt x="64" y="0"/>
                      <a:pt x="71" y="1"/>
                      <a:pt x="77" y="3"/>
                    </a:cubicBezTo>
                    <a:cubicBezTo>
                      <a:pt x="84" y="4"/>
                      <a:pt x="90" y="7"/>
                      <a:pt x="95" y="11"/>
                    </a:cubicBezTo>
                    <a:cubicBezTo>
                      <a:pt x="100" y="14"/>
                      <a:pt x="104" y="19"/>
                      <a:pt x="107" y="25"/>
                    </a:cubicBezTo>
                    <a:cubicBezTo>
                      <a:pt x="110" y="30"/>
                      <a:pt x="112" y="37"/>
                      <a:pt x="112" y="45"/>
                    </a:cubicBezTo>
                    <a:cubicBezTo>
                      <a:pt x="82" y="45"/>
                      <a:pt x="82" y="45"/>
                      <a:pt x="82" y="45"/>
                    </a:cubicBezTo>
                    <a:cubicBezTo>
                      <a:pt x="82" y="41"/>
                      <a:pt x="81" y="37"/>
                      <a:pt x="80" y="35"/>
                    </a:cubicBezTo>
                    <a:cubicBezTo>
                      <a:pt x="78" y="32"/>
                      <a:pt x="76" y="30"/>
                      <a:pt x="74" y="28"/>
                    </a:cubicBezTo>
                    <a:cubicBezTo>
                      <a:pt x="71" y="27"/>
                      <a:pt x="69" y="26"/>
                      <a:pt x="65" y="25"/>
                    </a:cubicBezTo>
                    <a:cubicBezTo>
                      <a:pt x="62" y="24"/>
                      <a:pt x="59" y="24"/>
                      <a:pt x="55" y="24"/>
                    </a:cubicBezTo>
                    <a:cubicBezTo>
                      <a:pt x="53" y="24"/>
                      <a:pt x="50" y="24"/>
                      <a:pt x="48" y="25"/>
                    </a:cubicBezTo>
                    <a:cubicBezTo>
                      <a:pt x="45" y="25"/>
                      <a:pt x="43" y="26"/>
                      <a:pt x="41" y="28"/>
                    </a:cubicBezTo>
                    <a:cubicBezTo>
                      <a:pt x="39" y="29"/>
                      <a:pt x="37" y="30"/>
                      <a:pt x="36" y="32"/>
                    </a:cubicBezTo>
                    <a:cubicBezTo>
                      <a:pt x="35" y="34"/>
                      <a:pt x="34" y="37"/>
                      <a:pt x="34" y="40"/>
                    </a:cubicBezTo>
                    <a:cubicBezTo>
                      <a:pt x="34" y="42"/>
                      <a:pt x="35" y="45"/>
                      <a:pt x="36" y="46"/>
                    </a:cubicBezTo>
                    <a:cubicBezTo>
                      <a:pt x="37" y="48"/>
                      <a:pt x="39" y="50"/>
                      <a:pt x="42" y="51"/>
                    </a:cubicBezTo>
                    <a:cubicBezTo>
                      <a:pt x="45" y="52"/>
                      <a:pt x="49" y="54"/>
                      <a:pt x="54" y="55"/>
                    </a:cubicBezTo>
                    <a:cubicBezTo>
                      <a:pt x="60" y="57"/>
                      <a:pt x="67" y="58"/>
                      <a:pt x="75" y="61"/>
                    </a:cubicBezTo>
                    <a:cubicBezTo>
                      <a:pt x="78" y="61"/>
                      <a:pt x="82" y="62"/>
                      <a:pt x="86" y="63"/>
                    </a:cubicBezTo>
                    <a:cubicBezTo>
                      <a:pt x="91" y="65"/>
                      <a:pt x="95" y="67"/>
                      <a:pt x="100" y="70"/>
                    </a:cubicBezTo>
                    <a:cubicBezTo>
                      <a:pt x="104" y="73"/>
                      <a:pt x="108" y="77"/>
                      <a:pt x="112" y="82"/>
                    </a:cubicBezTo>
                    <a:cubicBezTo>
                      <a:pt x="115" y="87"/>
                      <a:pt x="117" y="93"/>
                      <a:pt x="117" y="101"/>
                    </a:cubicBezTo>
                    <a:cubicBezTo>
                      <a:pt x="117" y="107"/>
                      <a:pt x="115" y="113"/>
                      <a:pt x="113" y="119"/>
                    </a:cubicBezTo>
                    <a:cubicBezTo>
                      <a:pt x="110" y="124"/>
                      <a:pt x="107" y="129"/>
                      <a:pt x="102" y="133"/>
                    </a:cubicBezTo>
                    <a:cubicBezTo>
                      <a:pt x="97" y="137"/>
                      <a:pt x="91" y="140"/>
                      <a:pt x="84" y="142"/>
                    </a:cubicBezTo>
                    <a:cubicBezTo>
                      <a:pt x="77" y="144"/>
                      <a:pt x="68" y="145"/>
                      <a:pt x="59" y="145"/>
                    </a:cubicBezTo>
                    <a:cubicBezTo>
                      <a:pt x="51" y="145"/>
                      <a:pt x="44" y="144"/>
                      <a:pt x="37" y="142"/>
                    </a:cubicBezTo>
                    <a:cubicBezTo>
                      <a:pt x="30" y="140"/>
                      <a:pt x="23" y="138"/>
                      <a:pt x="18" y="134"/>
                    </a:cubicBezTo>
                    <a:cubicBezTo>
                      <a:pt x="12" y="129"/>
                      <a:pt x="8" y="124"/>
                      <a:pt x="5" y="118"/>
                    </a:cubicBezTo>
                    <a:cubicBezTo>
                      <a:pt x="2" y="112"/>
                      <a:pt x="0" y="105"/>
                      <a:pt x="0" y="96"/>
                    </a:cubicBezTo>
                    <a:cubicBezTo>
                      <a:pt x="30" y="96"/>
                      <a:pt x="30" y="96"/>
                      <a:pt x="30" y="96"/>
                    </a:cubicBezTo>
                    <a:cubicBezTo>
                      <a:pt x="30" y="101"/>
                      <a:pt x="30" y="105"/>
                      <a:pt x="3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45" name="Freeform 24"/>
              <p:cNvSpPr>
                <a:spLocks noEditPoints="1"/>
              </p:cNvSpPr>
              <p:nvPr/>
            </p:nvSpPr>
            <p:spPr bwMode="auto">
              <a:xfrm>
                <a:off x="1333500" y="4678363"/>
                <a:ext cx="128588" cy="136525"/>
              </a:xfrm>
              <a:custGeom>
                <a:avLst/>
                <a:gdLst>
                  <a:gd name="T0" fmla="*/ 34 w 100"/>
                  <a:gd name="T1" fmla="*/ 79 h 106"/>
                  <a:gd name="T2" fmla="*/ 52 w 100"/>
                  <a:gd name="T3" fmla="*/ 85 h 106"/>
                  <a:gd name="T4" fmla="*/ 66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3 w 100"/>
                  <a:gd name="T19" fmla="*/ 74 h 106"/>
                  <a:gd name="T20" fmla="*/ 0 w 100"/>
                  <a:gd name="T21" fmla="*/ 53 h 106"/>
                  <a:gd name="T22" fmla="*/ 3 w 100"/>
                  <a:gd name="T23" fmla="*/ 32 h 106"/>
                  <a:gd name="T24" fmla="*/ 14 w 100"/>
                  <a:gd name="T25" fmla="*/ 15 h 106"/>
                  <a:gd name="T26" fmla="*/ 30 w 100"/>
                  <a:gd name="T27" fmla="*/ 4 h 106"/>
                  <a:gd name="T28" fmla="*/ 51 w 100"/>
                  <a:gd name="T29" fmla="*/ 0 h 106"/>
                  <a:gd name="T30" fmla="*/ 73 w 100"/>
                  <a:gd name="T31" fmla="*/ 5 h 106"/>
                  <a:gd name="T32" fmla="*/ 89 w 100"/>
                  <a:gd name="T33" fmla="*/ 18 h 106"/>
                  <a:gd name="T34" fmla="*/ 98 w 100"/>
                  <a:gd name="T35" fmla="*/ 37 h 106"/>
                  <a:gd name="T36" fmla="*/ 100 w 100"/>
                  <a:gd name="T37" fmla="*/ 60 h 106"/>
                  <a:gd name="T38" fmla="*/ 27 w 100"/>
                  <a:gd name="T39" fmla="*/ 60 h 106"/>
                  <a:gd name="T40" fmla="*/ 34 w 100"/>
                  <a:gd name="T41" fmla="*/ 79 h 106"/>
                  <a:gd name="T42" fmla="*/ 65 w 100"/>
                  <a:gd name="T43" fmla="*/ 26 h 106"/>
                  <a:gd name="T44" fmla="*/ 50 w 100"/>
                  <a:gd name="T45" fmla="*/ 21 h 106"/>
                  <a:gd name="T46" fmla="*/ 39 w 100"/>
                  <a:gd name="T47" fmla="*/ 23 h 106"/>
                  <a:gd name="T48" fmla="*/ 32 w 100"/>
                  <a:gd name="T49" fmla="*/ 29 h 106"/>
                  <a:gd name="T50" fmla="*/ 29 w 100"/>
                  <a:gd name="T51" fmla="*/ 36 h 106"/>
                  <a:gd name="T52" fmla="*/ 27 w 100"/>
                  <a:gd name="T53" fmla="*/ 42 h 106"/>
                  <a:gd name="T54" fmla="*/ 72 w 100"/>
                  <a:gd name="T55" fmla="*/ 42 h 106"/>
                  <a:gd name="T56" fmla="*/ 65 w 100"/>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8" y="83"/>
                      <a:pt x="44" y="85"/>
                      <a:pt x="52" y="85"/>
                    </a:cubicBezTo>
                    <a:cubicBezTo>
                      <a:pt x="57" y="85"/>
                      <a:pt x="62" y="84"/>
                      <a:pt x="66" y="81"/>
                    </a:cubicBezTo>
                    <a:cubicBezTo>
                      <a:pt x="70" y="78"/>
                      <a:pt x="73" y="75"/>
                      <a:pt x="74" y="72"/>
                    </a:cubicBezTo>
                    <a:cubicBezTo>
                      <a:pt x="98" y="72"/>
                      <a:pt x="98" y="72"/>
                      <a:pt x="98" y="72"/>
                    </a:cubicBezTo>
                    <a:cubicBezTo>
                      <a:pt x="94" y="84"/>
                      <a:pt x="88" y="93"/>
                      <a:pt x="80" y="98"/>
                    </a:cubicBezTo>
                    <a:cubicBezTo>
                      <a:pt x="72" y="103"/>
                      <a:pt x="62" y="106"/>
                      <a:pt x="51" y="106"/>
                    </a:cubicBezTo>
                    <a:cubicBezTo>
                      <a:pt x="43" y="106"/>
                      <a:pt x="36" y="104"/>
                      <a:pt x="30" y="102"/>
                    </a:cubicBezTo>
                    <a:cubicBezTo>
                      <a:pt x="23" y="99"/>
                      <a:pt x="18" y="96"/>
                      <a:pt x="14" y="91"/>
                    </a:cubicBezTo>
                    <a:cubicBezTo>
                      <a:pt x="9" y="86"/>
                      <a:pt x="6" y="81"/>
                      <a:pt x="3" y="74"/>
                    </a:cubicBezTo>
                    <a:cubicBezTo>
                      <a:pt x="1" y="68"/>
                      <a:pt x="0" y="61"/>
                      <a:pt x="0" y="53"/>
                    </a:cubicBezTo>
                    <a:cubicBezTo>
                      <a:pt x="0" y="46"/>
                      <a:pt x="1" y="39"/>
                      <a:pt x="3" y="32"/>
                    </a:cubicBezTo>
                    <a:cubicBezTo>
                      <a:pt x="6" y="26"/>
                      <a:pt x="9" y="20"/>
                      <a:pt x="14" y="15"/>
                    </a:cubicBezTo>
                    <a:cubicBezTo>
                      <a:pt x="18" y="11"/>
                      <a:pt x="24" y="7"/>
                      <a:pt x="30" y="4"/>
                    </a:cubicBezTo>
                    <a:cubicBezTo>
                      <a:pt x="36" y="2"/>
                      <a:pt x="43" y="0"/>
                      <a:pt x="51" y="0"/>
                    </a:cubicBezTo>
                    <a:cubicBezTo>
                      <a:pt x="59" y="0"/>
                      <a:pt x="67" y="2"/>
                      <a:pt x="73" y="5"/>
                    </a:cubicBezTo>
                    <a:cubicBezTo>
                      <a:pt x="80" y="8"/>
                      <a:pt x="85" y="13"/>
                      <a:pt x="89" y="18"/>
                    </a:cubicBezTo>
                    <a:cubicBezTo>
                      <a:pt x="93" y="24"/>
                      <a:pt x="96" y="30"/>
                      <a:pt x="98" y="37"/>
                    </a:cubicBezTo>
                    <a:cubicBezTo>
                      <a:pt x="99" y="44"/>
                      <a:pt x="100" y="52"/>
                      <a:pt x="100" y="60"/>
                    </a:cubicBezTo>
                    <a:cubicBezTo>
                      <a:pt x="27" y="60"/>
                      <a:pt x="27" y="60"/>
                      <a:pt x="27" y="60"/>
                    </a:cubicBezTo>
                    <a:cubicBezTo>
                      <a:pt x="28" y="69"/>
                      <a:pt x="30" y="75"/>
                      <a:pt x="34" y="79"/>
                    </a:cubicBezTo>
                    <a:close/>
                    <a:moveTo>
                      <a:pt x="65" y="26"/>
                    </a:moveTo>
                    <a:cubicBezTo>
                      <a:pt x="62" y="23"/>
                      <a:pt x="57" y="21"/>
                      <a:pt x="50" y="21"/>
                    </a:cubicBezTo>
                    <a:cubicBezTo>
                      <a:pt x="46" y="21"/>
                      <a:pt x="42" y="22"/>
                      <a:pt x="39" y="23"/>
                    </a:cubicBezTo>
                    <a:cubicBezTo>
                      <a:pt x="36" y="25"/>
                      <a:pt x="34" y="26"/>
                      <a:pt x="32" y="29"/>
                    </a:cubicBezTo>
                    <a:cubicBezTo>
                      <a:pt x="31" y="31"/>
                      <a:pt x="29" y="33"/>
                      <a:pt x="29" y="36"/>
                    </a:cubicBezTo>
                    <a:cubicBezTo>
                      <a:pt x="28" y="38"/>
                      <a:pt x="27" y="40"/>
                      <a:pt x="27" y="42"/>
                    </a:cubicBezTo>
                    <a:cubicBezTo>
                      <a:pt x="72" y="42"/>
                      <a:pt x="72" y="42"/>
                      <a:pt x="72" y="42"/>
                    </a:cubicBezTo>
                    <a:cubicBezTo>
                      <a:pt x="71" y="35"/>
                      <a:pt x="68" y="30"/>
                      <a:pt x="6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74" name="Freeform 25"/>
              <p:cNvSpPr>
                <a:spLocks/>
              </p:cNvSpPr>
              <p:nvPr/>
            </p:nvSpPr>
            <p:spPr bwMode="auto">
              <a:xfrm>
                <a:off x="1479550" y="4678363"/>
                <a:ext cx="82550" cy="133350"/>
              </a:xfrm>
              <a:custGeom>
                <a:avLst/>
                <a:gdLst>
                  <a:gd name="T0" fmla="*/ 26 w 64"/>
                  <a:gd name="T1" fmla="*/ 3 h 103"/>
                  <a:gd name="T2" fmla="*/ 26 w 64"/>
                  <a:gd name="T3" fmla="*/ 21 h 103"/>
                  <a:gd name="T4" fmla="*/ 27 w 64"/>
                  <a:gd name="T5" fmla="*/ 21 h 103"/>
                  <a:gd name="T6" fmla="*/ 32 w 64"/>
                  <a:gd name="T7" fmla="*/ 13 h 103"/>
                  <a:gd name="T8" fmla="*/ 39 w 64"/>
                  <a:gd name="T9" fmla="*/ 6 h 103"/>
                  <a:gd name="T10" fmla="*/ 48 w 64"/>
                  <a:gd name="T11" fmla="*/ 2 h 103"/>
                  <a:gd name="T12" fmla="*/ 58 w 64"/>
                  <a:gd name="T13" fmla="*/ 0 h 103"/>
                  <a:gd name="T14" fmla="*/ 64 w 64"/>
                  <a:gd name="T15" fmla="*/ 1 h 103"/>
                  <a:gd name="T16" fmla="*/ 64 w 64"/>
                  <a:gd name="T17" fmla="*/ 27 h 103"/>
                  <a:gd name="T18" fmla="*/ 60 w 64"/>
                  <a:gd name="T19" fmla="*/ 26 h 103"/>
                  <a:gd name="T20" fmla="*/ 55 w 64"/>
                  <a:gd name="T21" fmla="*/ 26 h 103"/>
                  <a:gd name="T22" fmla="*/ 42 w 64"/>
                  <a:gd name="T23" fmla="*/ 28 h 103"/>
                  <a:gd name="T24" fmla="*/ 33 w 64"/>
                  <a:gd name="T25" fmla="*/ 35 h 103"/>
                  <a:gd name="T26" fmla="*/ 29 w 64"/>
                  <a:gd name="T27" fmla="*/ 45 h 103"/>
                  <a:gd name="T28" fmla="*/ 27 w 64"/>
                  <a:gd name="T29" fmla="*/ 58 h 103"/>
                  <a:gd name="T30" fmla="*/ 27 w 64"/>
                  <a:gd name="T31" fmla="*/ 103 h 103"/>
                  <a:gd name="T32" fmla="*/ 0 w 64"/>
                  <a:gd name="T33" fmla="*/ 103 h 103"/>
                  <a:gd name="T34" fmla="*/ 0 w 64"/>
                  <a:gd name="T35" fmla="*/ 3 h 103"/>
                  <a:gd name="T36" fmla="*/ 26 w 64"/>
                  <a:gd name="T37"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3">
                    <a:moveTo>
                      <a:pt x="26" y="3"/>
                    </a:moveTo>
                    <a:cubicBezTo>
                      <a:pt x="26" y="21"/>
                      <a:pt x="26" y="21"/>
                      <a:pt x="26" y="21"/>
                    </a:cubicBezTo>
                    <a:cubicBezTo>
                      <a:pt x="27" y="21"/>
                      <a:pt x="27" y="21"/>
                      <a:pt x="27" y="21"/>
                    </a:cubicBezTo>
                    <a:cubicBezTo>
                      <a:pt x="28" y="18"/>
                      <a:pt x="30" y="16"/>
                      <a:pt x="32" y="13"/>
                    </a:cubicBezTo>
                    <a:cubicBezTo>
                      <a:pt x="34" y="10"/>
                      <a:pt x="36" y="8"/>
                      <a:pt x="39" y="6"/>
                    </a:cubicBezTo>
                    <a:cubicBezTo>
                      <a:pt x="42" y="4"/>
                      <a:pt x="45" y="3"/>
                      <a:pt x="48" y="2"/>
                    </a:cubicBezTo>
                    <a:cubicBezTo>
                      <a:pt x="52" y="1"/>
                      <a:pt x="55" y="0"/>
                      <a:pt x="58" y="0"/>
                    </a:cubicBezTo>
                    <a:cubicBezTo>
                      <a:pt x="60" y="0"/>
                      <a:pt x="62" y="1"/>
                      <a:pt x="64" y="1"/>
                    </a:cubicBezTo>
                    <a:cubicBezTo>
                      <a:pt x="64" y="27"/>
                      <a:pt x="64" y="27"/>
                      <a:pt x="64" y="27"/>
                    </a:cubicBezTo>
                    <a:cubicBezTo>
                      <a:pt x="63" y="26"/>
                      <a:pt x="62" y="26"/>
                      <a:pt x="60" y="26"/>
                    </a:cubicBezTo>
                    <a:cubicBezTo>
                      <a:pt x="58" y="26"/>
                      <a:pt x="56" y="26"/>
                      <a:pt x="55" y="26"/>
                    </a:cubicBezTo>
                    <a:cubicBezTo>
                      <a:pt x="50" y="26"/>
                      <a:pt x="45" y="27"/>
                      <a:pt x="42" y="28"/>
                    </a:cubicBezTo>
                    <a:cubicBezTo>
                      <a:pt x="38" y="30"/>
                      <a:pt x="36" y="32"/>
                      <a:pt x="33" y="35"/>
                    </a:cubicBezTo>
                    <a:cubicBezTo>
                      <a:pt x="31" y="38"/>
                      <a:pt x="30" y="41"/>
                      <a:pt x="29" y="45"/>
                    </a:cubicBezTo>
                    <a:cubicBezTo>
                      <a:pt x="28" y="49"/>
                      <a:pt x="27" y="53"/>
                      <a:pt x="27" y="58"/>
                    </a:cubicBezTo>
                    <a:cubicBezTo>
                      <a:pt x="27" y="103"/>
                      <a:pt x="27" y="103"/>
                      <a:pt x="27" y="103"/>
                    </a:cubicBezTo>
                    <a:cubicBezTo>
                      <a:pt x="0" y="103"/>
                      <a:pt x="0" y="103"/>
                      <a:pt x="0" y="103"/>
                    </a:cubicBezTo>
                    <a:cubicBezTo>
                      <a:pt x="0" y="3"/>
                      <a:pt x="0" y="3"/>
                      <a:pt x="0" y="3"/>
                    </a:cubicBez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75" name="Freeform 26"/>
              <p:cNvSpPr>
                <a:spLocks/>
              </p:cNvSpPr>
              <p:nvPr/>
            </p:nvSpPr>
            <p:spPr bwMode="auto">
              <a:xfrm>
                <a:off x="1573213" y="4681538"/>
                <a:ext cx="127000" cy="130175"/>
              </a:xfrm>
              <a:custGeom>
                <a:avLst/>
                <a:gdLst>
                  <a:gd name="T0" fmla="*/ 28 w 80"/>
                  <a:gd name="T1" fmla="*/ 82 h 82"/>
                  <a:gd name="T2" fmla="*/ 0 w 80"/>
                  <a:gd name="T3" fmla="*/ 0 h 82"/>
                  <a:gd name="T4" fmla="*/ 24 w 80"/>
                  <a:gd name="T5" fmla="*/ 0 h 82"/>
                  <a:gd name="T6" fmla="*/ 41 w 80"/>
                  <a:gd name="T7" fmla="*/ 56 h 82"/>
                  <a:gd name="T8" fmla="*/ 41 w 80"/>
                  <a:gd name="T9" fmla="*/ 56 h 82"/>
                  <a:gd name="T10" fmla="*/ 58 w 80"/>
                  <a:gd name="T11" fmla="*/ 0 h 82"/>
                  <a:gd name="T12" fmla="*/ 80 w 80"/>
                  <a:gd name="T13" fmla="*/ 0 h 82"/>
                  <a:gd name="T14" fmla="*/ 53 w 80"/>
                  <a:gd name="T15" fmla="*/ 82 h 82"/>
                  <a:gd name="T16" fmla="*/ 28 w 80"/>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2">
                    <a:moveTo>
                      <a:pt x="28" y="82"/>
                    </a:moveTo>
                    <a:lnTo>
                      <a:pt x="0" y="0"/>
                    </a:lnTo>
                    <a:lnTo>
                      <a:pt x="24" y="0"/>
                    </a:lnTo>
                    <a:lnTo>
                      <a:pt x="41" y="56"/>
                    </a:lnTo>
                    <a:lnTo>
                      <a:pt x="41" y="56"/>
                    </a:lnTo>
                    <a:lnTo>
                      <a:pt x="58" y="0"/>
                    </a:lnTo>
                    <a:lnTo>
                      <a:pt x="80" y="0"/>
                    </a:lnTo>
                    <a:lnTo>
                      <a:pt x="53" y="82"/>
                    </a:lnTo>
                    <a:lnTo>
                      <a:pt x="2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76" name="Freeform 27"/>
              <p:cNvSpPr>
                <a:spLocks noEditPoints="1"/>
              </p:cNvSpPr>
              <p:nvPr/>
            </p:nvSpPr>
            <p:spPr bwMode="auto">
              <a:xfrm>
                <a:off x="1712913" y="4632326"/>
                <a:ext cx="34925" cy="179388"/>
              </a:xfrm>
              <a:custGeom>
                <a:avLst/>
                <a:gdLst>
                  <a:gd name="T0" fmla="*/ 0 w 22"/>
                  <a:gd name="T1" fmla="*/ 18 h 113"/>
                  <a:gd name="T2" fmla="*/ 0 w 22"/>
                  <a:gd name="T3" fmla="*/ 0 h 113"/>
                  <a:gd name="T4" fmla="*/ 22 w 22"/>
                  <a:gd name="T5" fmla="*/ 0 h 113"/>
                  <a:gd name="T6" fmla="*/ 22 w 22"/>
                  <a:gd name="T7" fmla="*/ 18 h 113"/>
                  <a:gd name="T8" fmla="*/ 0 w 22"/>
                  <a:gd name="T9" fmla="*/ 18 h 113"/>
                  <a:gd name="T10" fmla="*/ 22 w 22"/>
                  <a:gd name="T11" fmla="*/ 31 h 113"/>
                  <a:gd name="T12" fmla="*/ 22 w 22"/>
                  <a:gd name="T13" fmla="*/ 113 h 113"/>
                  <a:gd name="T14" fmla="*/ 0 w 22"/>
                  <a:gd name="T15" fmla="*/ 113 h 113"/>
                  <a:gd name="T16" fmla="*/ 0 w 22"/>
                  <a:gd name="T17" fmla="*/ 31 h 113"/>
                  <a:gd name="T18" fmla="*/ 22 w 22"/>
                  <a:gd name="T19" fmla="*/ 3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13">
                    <a:moveTo>
                      <a:pt x="0" y="18"/>
                    </a:moveTo>
                    <a:lnTo>
                      <a:pt x="0" y="0"/>
                    </a:lnTo>
                    <a:lnTo>
                      <a:pt x="22" y="0"/>
                    </a:lnTo>
                    <a:lnTo>
                      <a:pt x="22" y="18"/>
                    </a:lnTo>
                    <a:lnTo>
                      <a:pt x="0" y="18"/>
                    </a:lnTo>
                    <a:close/>
                    <a:moveTo>
                      <a:pt x="22" y="31"/>
                    </a:moveTo>
                    <a:lnTo>
                      <a:pt x="22" y="113"/>
                    </a:lnTo>
                    <a:lnTo>
                      <a:pt x="0" y="113"/>
                    </a:lnTo>
                    <a:lnTo>
                      <a:pt x="0" y="31"/>
                    </a:lnTo>
                    <a:lnTo>
                      <a:pt x="2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77" name="Freeform 28"/>
              <p:cNvSpPr>
                <a:spLocks/>
              </p:cNvSpPr>
              <p:nvPr/>
            </p:nvSpPr>
            <p:spPr bwMode="auto">
              <a:xfrm>
                <a:off x="1766888" y="4678363"/>
                <a:ext cx="127000" cy="136525"/>
              </a:xfrm>
              <a:custGeom>
                <a:avLst/>
                <a:gdLst>
                  <a:gd name="T0" fmla="*/ 51 w 99"/>
                  <a:gd name="T1" fmla="*/ 21 h 106"/>
                  <a:gd name="T2" fmla="*/ 40 w 99"/>
                  <a:gd name="T3" fmla="*/ 24 h 106"/>
                  <a:gd name="T4" fmla="*/ 33 w 99"/>
                  <a:gd name="T5" fmla="*/ 32 h 106"/>
                  <a:gd name="T6" fmla="*/ 29 w 99"/>
                  <a:gd name="T7" fmla="*/ 42 h 106"/>
                  <a:gd name="T8" fmla="*/ 28 w 99"/>
                  <a:gd name="T9" fmla="*/ 53 h 106"/>
                  <a:gd name="T10" fmla="*/ 29 w 99"/>
                  <a:gd name="T11" fmla="*/ 64 h 106"/>
                  <a:gd name="T12" fmla="*/ 33 w 99"/>
                  <a:gd name="T13" fmla="*/ 75 h 106"/>
                  <a:gd name="T14" fmla="*/ 40 w 99"/>
                  <a:gd name="T15" fmla="*/ 82 h 106"/>
                  <a:gd name="T16" fmla="*/ 51 w 99"/>
                  <a:gd name="T17" fmla="*/ 85 h 106"/>
                  <a:gd name="T18" fmla="*/ 66 w 99"/>
                  <a:gd name="T19" fmla="*/ 79 h 106"/>
                  <a:gd name="T20" fmla="*/ 73 w 99"/>
                  <a:gd name="T21" fmla="*/ 65 h 106"/>
                  <a:gd name="T22" fmla="*/ 99 w 99"/>
                  <a:gd name="T23" fmla="*/ 65 h 106"/>
                  <a:gd name="T24" fmla="*/ 84 w 99"/>
                  <a:gd name="T25" fmla="*/ 95 h 106"/>
                  <a:gd name="T26" fmla="*/ 51 w 99"/>
                  <a:gd name="T27" fmla="*/ 106 h 106"/>
                  <a:gd name="T28" fmla="*/ 30 w 99"/>
                  <a:gd name="T29" fmla="*/ 102 h 106"/>
                  <a:gd name="T30" fmla="*/ 14 w 99"/>
                  <a:gd name="T31" fmla="*/ 91 h 106"/>
                  <a:gd name="T32" fmla="*/ 4 w 99"/>
                  <a:gd name="T33" fmla="*/ 75 h 106"/>
                  <a:gd name="T34" fmla="*/ 0 w 99"/>
                  <a:gd name="T35" fmla="*/ 54 h 106"/>
                  <a:gd name="T36" fmla="*/ 4 w 99"/>
                  <a:gd name="T37" fmla="*/ 33 h 106"/>
                  <a:gd name="T38" fmla="*/ 14 w 99"/>
                  <a:gd name="T39" fmla="*/ 16 h 106"/>
                  <a:gd name="T40" fmla="*/ 30 w 99"/>
                  <a:gd name="T41" fmla="*/ 4 h 106"/>
                  <a:gd name="T42" fmla="*/ 51 w 99"/>
                  <a:gd name="T43" fmla="*/ 0 h 106"/>
                  <a:gd name="T44" fmla="*/ 69 w 99"/>
                  <a:gd name="T45" fmla="*/ 2 h 106"/>
                  <a:gd name="T46" fmla="*/ 83 w 99"/>
                  <a:gd name="T47" fmla="*/ 10 h 106"/>
                  <a:gd name="T48" fmla="*/ 94 w 99"/>
                  <a:gd name="T49" fmla="*/ 21 h 106"/>
                  <a:gd name="T50" fmla="*/ 99 w 99"/>
                  <a:gd name="T51" fmla="*/ 38 h 106"/>
                  <a:gd name="T52" fmla="*/ 72 w 99"/>
                  <a:gd name="T53" fmla="*/ 38 h 106"/>
                  <a:gd name="T54" fmla="*/ 51 w 99"/>
                  <a:gd name="T55"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06">
                    <a:moveTo>
                      <a:pt x="51" y="21"/>
                    </a:moveTo>
                    <a:cubicBezTo>
                      <a:pt x="47" y="21"/>
                      <a:pt x="43" y="22"/>
                      <a:pt x="40" y="24"/>
                    </a:cubicBezTo>
                    <a:cubicBezTo>
                      <a:pt x="37" y="26"/>
                      <a:pt x="35" y="28"/>
                      <a:pt x="33" y="32"/>
                    </a:cubicBezTo>
                    <a:cubicBezTo>
                      <a:pt x="31" y="35"/>
                      <a:pt x="30" y="38"/>
                      <a:pt x="29" y="42"/>
                    </a:cubicBezTo>
                    <a:cubicBezTo>
                      <a:pt x="28" y="46"/>
                      <a:pt x="28" y="50"/>
                      <a:pt x="28" y="53"/>
                    </a:cubicBezTo>
                    <a:cubicBezTo>
                      <a:pt x="28" y="57"/>
                      <a:pt x="28" y="61"/>
                      <a:pt x="29" y="64"/>
                    </a:cubicBezTo>
                    <a:cubicBezTo>
                      <a:pt x="30" y="68"/>
                      <a:pt x="31" y="72"/>
                      <a:pt x="33" y="75"/>
                    </a:cubicBezTo>
                    <a:cubicBezTo>
                      <a:pt x="34" y="78"/>
                      <a:pt x="37" y="80"/>
                      <a:pt x="40" y="82"/>
                    </a:cubicBezTo>
                    <a:cubicBezTo>
                      <a:pt x="43" y="84"/>
                      <a:pt x="46" y="85"/>
                      <a:pt x="51" y="85"/>
                    </a:cubicBezTo>
                    <a:cubicBezTo>
                      <a:pt x="57" y="85"/>
                      <a:pt x="62" y="83"/>
                      <a:pt x="66" y="79"/>
                    </a:cubicBezTo>
                    <a:cubicBezTo>
                      <a:pt x="69" y="76"/>
                      <a:pt x="72" y="71"/>
                      <a:pt x="73" y="65"/>
                    </a:cubicBezTo>
                    <a:cubicBezTo>
                      <a:pt x="99" y="65"/>
                      <a:pt x="99" y="65"/>
                      <a:pt x="99" y="65"/>
                    </a:cubicBezTo>
                    <a:cubicBezTo>
                      <a:pt x="97" y="78"/>
                      <a:pt x="92" y="88"/>
                      <a:pt x="84" y="95"/>
                    </a:cubicBezTo>
                    <a:cubicBezTo>
                      <a:pt x="75" y="102"/>
                      <a:pt x="64" y="106"/>
                      <a:pt x="51" y="106"/>
                    </a:cubicBezTo>
                    <a:cubicBezTo>
                      <a:pt x="43" y="106"/>
                      <a:pt x="36" y="104"/>
                      <a:pt x="30" y="102"/>
                    </a:cubicBezTo>
                    <a:cubicBezTo>
                      <a:pt x="24" y="99"/>
                      <a:pt x="19" y="96"/>
                      <a:pt x="14" y="91"/>
                    </a:cubicBezTo>
                    <a:cubicBezTo>
                      <a:pt x="10" y="87"/>
                      <a:pt x="6" y="81"/>
                      <a:pt x="4" y="75"/>
                    </a:cubicBezTo>
                    <a:cubicBezTo>
                      <a:pt x="2" y="69"/>
                      <a:pt x="0" y="62"/>
                      <a:pt x="0" y="54"/>
                    </a:cubicBezTo>
                    <a:cubicBezTo>
                      <a:pt x="0" y="47"/>
                      <a:pt x="1" y="39"/>
                      <a:pt x="4" y="33"/>
                    </a:cubicBezTo>
                    <a:cubicBezTo>
                      <a:pt x="6" y="26"/>
                      <a:pt x="9" y="20"/>
                      <a:pt x="14" y="16"/>
                    </a:cubicBezTo>
                    <a:cubicBezTo>
                      <a:pt x="18" y="11"/>
                      <a:pt x="23" y="7"/>
                      <a:pt x="30" y="4"/>
                    </a:cubicBezTo>
                    <a:cubicBezTo>
                      <a:pt x="36" y="2"/>
                      <a:pt x="43" y="0"/>
                      <a:pt x="51" y="0"/>
                    </a:cubicBezTo>
                    <a:cubicBezTo>
                      <a:pt x="57" y="0"/>
                      <a:pt x="63" y="1"/>
                      <a:pt x="69" y="2"/>
                    </a:cubicBezTo>
                    <a:cubicBezTo>
                      <a:pt x="74" y="4"/>
                      <a:pt x="79" y="6"/>
                      <a:pt x="83" y="10"/>
                    </a:cubicBezTo>
                    <a:cubicBezTo>
                      <a:pt x="88" y="13"/>
                      <a:pt x="91" y="17"/>
                      <a:pt x="94" y="21"/>
                    </a:cubicBezTo>
                    <a:cubicBezTo>
                      <a:pt x="97" y="26"/>
                      <a:pt x="98" y="32"/>
                      <a:pt x="99" y="38"/>
                    </a:cubicBezTo>
                    <a:cubicBezTo>
                      <a:pt x="72" y="38"/>
                      <a:pt x="72" y="38"/>
                      <a:pt x="72" y="38"/>
                    </a:cubicBezTo>
                    <a:cubicBezTo>
                      <a:pt x="70" y="27"/>
                      <a:pt x="63" y="21"/>
                      <a:pt x="5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78" name="Freeform 29"/>
              <p:cNvSpPr>
                <a:spLocks noEditPoints="1"/>
              </p:cNvSpPr>
              <p:nvPr/>
            </p:nvSpPr>
            <p:spPr bwMode="auto">
              <a:xfrm>
                <a:off x="1903413" y="4678363"/>
                <a:ext cx="130175" cy="136525"/>
              </a:xfrm>
              <a:custGeom>
                <a:avLst/>
                <a:gdLst>
                  <a:gd name="T0" fmla="*/ 35 w 101"/>
                  <a:gd name="T1" fmla="*/ 79 h 106"/>
                  <a:gd name="T2" fmla="*/ 52 w 101"/>
                  <a:gd name="T3" fmla="*/ 85 h 106"/>
                  <a:gd name="T4" fmla="*/ 67 w 101"/>
                  <a:gd name="T5" fmla="*/ 81 h 106"/>
                  <a:gd name="T6" fmla="*/ 74 w 101"/>
                  <a:gd name="T7" fmla="*/ 72 h 106"/>
                  <a:gd name="T8" fmla="*/ 98 w 101"/>
                  <a:gd name="T9" fmla="*/ 72 h 106"/>
                  <a:gd name="T10" fmla="*/ 81 w 101"/>
                  <a:gd name="T11" fmla="*/ 98 h 106"/>
                  <a:gd name="T12" fmla="*/ 51 w 101"/>
                  <a:gd name="T13" fmla="*/ 106 h 106"/>
                  <a:gd name="T14" fmla="*/ 30 w 101"/>
                  <a:gd name="T15" fmla="*/ 102 h 106"/>
                  <a:gd name="T16" fmla="*/ 14 w 101"/>
                  <a:gd name="T17" fmla="*/ 91 h 106"/>
                  <a:gd name="T18" fmla="*/ 4 w 101"/>
                  <a:gd name="T19" fmla="*/ 74 h 106"/>
                  <a:gd name="T20" fmla="*/ 0 w 101"/>
                  <a:gd name="T21" fmla="*/ 53 h 106"/>
                  <a:gd name="T22" fmla="*/ 4 w 101"/>
                  <a:gd name="T23" fmla="*/ 32 h 106"/>
                  <a:gd name="T24" fmla="*/ 14 w 101"/>
                  <a:gd name="T25" fmla="*/ 15 h 106"/>
                  <a:gd name="T26" fmla="*/ 31 w 101"/>
                  <a:gd name="T27" fmla="*/ 4 h 106"/>
                  <a:gd name="T28" fmla="*/ 51 w 101"/>
                  <a:gd name="T29" fmla="*/ 0 h 106"/>
                  <a:gd name="T30" fmla="*/ 74 w 101"/>
                  <a:gd name="T31" fmla="*/ 5 h 106"/>
                  <a:gd name="T32" fmla="*/ 89 w 101"/>
                  <a:gd name="T33" fmla="*/ 18 h 106"/>
                  <a:gd name="T34" fmla="*/ 98 w 101"/>
                  <a:gd name="T35" fmla="*/ 37 h 106"/>
                  <a:gd name="T36" fmla="*/ 100 w 101"/>
                  <a:gd name="T37" fmla="*/ 60 h 106"/>
                  <a:gd name="T38" fmla="*/ 28 w 101"/>
                  <a:gd name="T39" fmla="*/ 60 h 106"/>
                  <a:gd name="T40" fmla="*/ 35 w 101"/>
                  <a:gd name="T41" fmla="*/ 79 h 106"/>
                  <a:gd name="T42" fmla="*/ 66 w 101"/>
                  <a:gd name="T43" fmla="*/ 26 h 106"/>
                  <a:gd name="T44" fmla="*/ 51 w 101"/>
                  <a:gd name="T45" fmla="*/ 21 h 106"/>
                  <a:gd name="T46" fmla="*/ 40 w 101"/>
                  <a:gd name="T47" fmla="*/ 23 h 106"/>
                  <a:gd name="T48" fmla="*/ 33 w 101"/>
                  <a:gd name="T49" fmla="*/ 29 h 106"/>
                  <a:gd name="T50" fmla="*/ 29 w 101"/>
                  <a:gd name="T51" fmla="*/ 36 h 106"/>
                  <a:gd name="T52" fmla="*/ 28 w 101"/>
                  <a:gd name="T53" fmla="*/ 42 h 106"/>
                  <a:gd name="T54" fmla="*/ 73 w 101"/>
                  <a:gd name="T55" fmla="*/ 42 h 106"/>
                  <a:gd name="T56" fmla="*/ 66 w 101"/>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1" h="106">
                    <a:moveTo>
                      <a:pt x="35"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9" y="93"/>
                      <a:pt x="81" y="98"/>
                    </a:cubicBezTo>
                    <a:cubicBezTo>
                      <a:pt x="73" y="103"/>
                      <a:pt x="63" y="106"/>
                      <a:pt x="51" y="106"/>
                    </a:cubicBezTo>
                    <a:cubicBezTo>
                      <a:pt x="44" y="106"/>
                      <a:pt x="36" y="104"/>
                      <a:pt x="30" y="102"/>
                    </a:cubicBezTo>
                    <a:cubicBezTo>
                      <a:pt x="24" y="99"/>
                      <a:pt x="18" y="96"/>
                      <a:pt x="14" y="91"/>
                    </a:cubicBezTo>
                    <a:cubicBezTo>
                      <a:pt x="10" y="86"/>
                      <a:pt x="6" y="81"/>
                      <a:pt x="4" y="74"/>
                    </a:cubicBezTo>
                    <a:cubicBezTo>
                      <a:pt x="2" y="68"/>
                      <a:pt x="0" y="61"/>
                      <a:pt x="0" y="53"/>
                    </a:cubicBezTo>
                    <a:cubicBezTo>
                      <a:pt x="0" y="46"/>
                      <a:pt x="2" y="39"/>
                      <a:pt x="4" y="32"/>
                    </a:cubicBezTo>
                    <a:cubicBezTo>
                      <a:pt x="6" y="26"/>
                      <a:pt x="10" y="20"/>
                      <a:pt x="14" y="15"/>
                    </a:cubicBezTo>
                    <a:cubicBezTo>
                      <a:pt x="19" y="11"/>
                      <a:pt x="24" y="7"/>
                      <a:pt x="31" y="4"/>
                    </a:cubicBezTo>
                    <a:cubicBezTo>
                      <a:pt x="37" y="2"/>
                      <a:pt x="44" y="0"/>
                      <a:pt x="51" y="0"/>
                    </a:cubicBezTo>
                    <a:cubicBezTo>
                      <a:pt x="60" y="0"/>
                      <a:pt x="67" y="2"/>
                      <a:pt x="74" y="5"/>
                    </a:cubicBezTo>
                    <a:cubicBezTo>
                      <a:pt x="80" y="8"/>
                      <a:pt x="85" y="13"/>
                      <a:pt x="89" y="18"/>
                    </a:cubicBezTo>
                    <a:cubicBezTo>
                      <a:pt x="93" y="24"/>
                      <a:pt x="96" y="30"/>
                      <a:pt x="98" y="37"/>
                    </a:cubicBezTo>
                    <a:cubicBezTo>
                      <a:pt x="100" y="44"/>
                      <a:pt x="101" y="52"/>
                      <a:pt x="100" y="60"/>
                    </a:cubicBezTo>
                    <a:cubicBezTo>
                      <a:pt x="28" y="60"/>
                      <a:pt x="28" y="60"/>
                      <a:pt x="28" y="60"/>
                    </a:cubicBezTo>
                    <a:cubicBezTo>
                      <a:pt x="28" y="69"/>
                      <a:pt x="30" y="75"/>
                      <a:pt x="35" y="79"/>
                    </a:cubicBezTo>
                    <a:close/>
                    <a:moveTo>
                      <a:pt x="66" y="26"/>
                    </a:moveTo>
                    <a:cubicBezTo>
                      <a:pt x="62" y="23"/>
                      <a:pt x="57" y="21"/>
                      <a:pt x="51" y="21"/>
                    </a:cubicBezTo>
                    <a:cubicBezTo>
                      <a:pt x="46" y="21"/>
                      <a:pt x="43" y="22"/>
                      <a:pt x="40" y="23"/>
                    </a:cubicBezTo>
                    <a:cubicBezTo>
                      <a:pt x="37" y="25"/>
                      <a:pt x="35" y="26"/>
                      <a:pt x="33" y="29"/>
                    </a:cubicBezTo>
                    <a:cubicBezTo>
                      <a:pt x="31" y="31"/>
                      <a:pt x="30" y="33"/>
                      <a:pt x="29" y="36"/>
                    </a:cubicBezTo>
                    <a:cubicBezTo>
                      <a:pt x="28" y="38"/>
                      <a:pt x="28" y="40"/>
                      <a:pt x="28" y="42"/>
                    </a:cubicBezTo>
                    <a:cubicBezTo>
                      <a:pt x="73" y="42"/>
                      <a:pt x="73" y="42"/>
                      <a:pt x="73" y="42"/>
                    </a:cubicBezTo>
                    <a:cubicBezTo>
                      <a:pt x="71" y="35"/>
                      <a:pt x="69" y="30"/>
                      <a:pt x="6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sp>
            <p:nvSpPr>
              <p:cNvPr id="79" name="Freeform 30"/>
              <p:cNvSpPr>
                <a:spLocks/>
              </p:cNvSpPr>
              <p:nvPr/>
            </p:nvSpPr>
            <p:spPr bwMode="auto">
              <a:xfrm>
                <a:off x="2043113" y="4678363"/>
                <a:ext cx="119063" cy="136525"/>
              </a:xfrm>
              <a:custGeom>
                <a:avLst/>
                <a:gdLst>
                  <a:gd name="T0" fmla="*/ 28 w 93"/>
                  <a:gd name="T1" fmla="*/ 78 h 106"/>
                  <a:gd name="T2" fmla="*/ 33 w 93"/>
                  <a:gd name="T3" fmla="*/ 83 h 106"/>
                  <a:gd name="T4" fmla="*/ 39 w 93"/>
                  <a:gd name="T5" fmla="*/ 86 h 106"/>
                  <a:gd name="T6" fmla="*/ 47 w 93"/>
                  <a:gd name="T7" fmla="*/ 87 h 106"/>
                  <a:gd name="T8" fmla="*/ 53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3 h 106"/>
                  <a:gd name="T26" fmla="*/ 2 w 93"/>
                  <a:gd name="T27" fmla="*/ 32 h 106"/>
                  <a:gd name="T28" fmla="*/ 6 w 93"/>
                  <a:gd name="T29" fmla="*/ 16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1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7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0 h 106"/>
                  <a:gd name="T90" fmla="*/ 26 w 93"/>
                  <a:gd name="T91" fmla="*/ 70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3"/>
                    </a:cubicBezTo>
                    <a:cubicBezTo>
                      <a:pt x="35" y="85"/>
                      <a:pt x="37" y="86"/>
                      <a:pt x="39" y="86"/>
                    </a:cubicBezTo>
                    <a:cubicBezTo>
                      <a:pt x="42" y="87"/>
                      <a:pt x="45" y="87"/>
                      <a:pt x="47" y="87"/>
                    </a:cubicBezTo>
                    <a:cubicBezTo>
                      <a:pt x="49" y="87"/>
                      <a:pt x="51" y="87"/>
                      <a:pt x="53" y="87"/>
                    </a:cubicBezTo>
                    <a:cubicBezTo>
                      <a:pt x="56" y="86"/>
                      <a:pt x="57" y="85"/>
                      <a:pt x="59" y="85"/>
                    </a:cubicBezTo>
                    <a:cubicBezTo>
                      <a:pt x="61" y="84"/>
                      <a:pt x="62" y="82"/>
                      <a:pt x="64" y="81"/>
                    </a:cubicBezTo>
                    <a:cubicBezTo>
                      <a:pt x="65" y="79"/>
                      <a:pt x="65" y="77"/>
                      <a:pt x="65" y="75"/>
                    </a:cubicBezTo>
                    <a:cubicBezTo>
                      <a:pt x="65" y="70"/>
                      <a:pt x="63" y="67"/>
                      <a:pt x="57" y="65"/>
                    </a:cubicBezTo>
                    <a:cubicBezTo>
                      <a:pt x="52" y="63"/>
                      <a:pt x="44" y="61"/>
                      <a:pt x="34" y="59"/>
                    </a:cubicBezTo>
                    <a:cubicBezTo>
                      <a:pt x="30" y="58"/>
                      <a:pt x="26" y="57"/>
                      <a:pt x="22" y="56"/>
                    </a:cubicBezTo>
                    <a:cubicBezTo>
                      <a:pt x="19" y="55"/>
                      <a:pt x="15" y="53"/>
                      <a:pt x="12" y="51"/>
                    </a:cubicBezTo>
                    <a:cubicBezTo>
                      <a:pt x="9" y="49"/>
                      <a:pt x="7" y="46"/>
                      <a:pt x="5" y="43"/>
                    </a:cubicBezTo>
                    <a:cubicBezTo>
                      <a:pt x="3" y="40"/>
                      <a:pt x="2" y="37"/>
                      <a:pt x="2" y="32"/>
                    </a:cubicBezTo>
                    <a:cubicBezTo>
                      <a:pt x="2" y="26"/>
                      <a:pt x="4" y="21"/>
                      <a:pt x="6" y="16"/>
                    </a:cubicBezTo>
                    <a:cubicBezTo>
                      <a:pt x="9" y="12"/>
                      <a:pt x="12" y="9"/>
                      <a:pt x="16" y="7"/>
                    </a:cubicBezTo>
                    <a:cubicBezTo>
                      <a:pt x="20" y="4"/>
                      <a:pt x="25" y="3"/>
                      <a:pt x="30" y="2"/>
                    </a:cubicBezTo>
                    <a:cubicBezTo>
                      <a:pt x="35" y="1"/>
                      <a:pt x="41" y="0"/>
                      <a:pt x="46" y="0"/>
                    </a:cubicBezTo>
                    <a:cubicBezTo>
                      <a:pt x="51" y="0"/>
                      <a:pt x="57" y="1"/>
                      <a:pt x="62" y="2"/>
                    </a:cubicBezTo>
                    <a:cubicBezTo>
                      <a:pt x="67" y="3"/>
                      <a:pt x="71" y="4"/>
                      <a:pt x="75" y="7"/>
                    </a:cubicBezTo>
                    <a:cubicBezTo>
                      <a:pt x="79" y="9"/>
                      <a:pt x="83" y="13"/>
                      <a:pt x="85" y="17"/>
                    </a:cubicBezTo>
                    <a:cubicBezTo>
                      <a:pt x="88" y="21"/>
                      <a:pt x="90" y="26"/>
                      <a:pt x="90" y="32"/>
                    </a:cubicBezTo>
                    <a:cubicBezTo>
                      <a:pt x="64" y="32"/>
                      <a:pt x="64" y="32"/>
                      <a:pt x="64" y="32"/>
                    </a:cubicBezTo>
                    <a:cubicBezTo>
                      <a:pt x="64" y="27"/>
                      <a:pt x="62" y="23"/>
                      <a:pt x="58" y="21"/>
                    </a:cubicBezTo>
                    <a:cubicBezTo>
                      <a:pt x="54" y="20"/>
                      <a:pt x="50" y="19"/>
                      <a:pt x="45" y="19"/>
                    </a:cubicBezTo>
                    <a:cubicBezTo>
                      <a:pt x="44" y="19"/>
                      <a:pt x="42" y="19"/>
                      <a:pt x="40" y="19"/>
                    </a:cubicBezTo>
                    <a:cubicBezTo>
                      <a:pt x="38" y="19"/>
                      <a:pt x="37" y="19"/>
                      <a:pt x="35" y="20"/>
                    </a:cubicBezTo>
                    <a:cubicBezTo>
                      <a:pt x="34" y="21"/>
                      <a:pt x="32" y="22"/>
                      <a:pt x="31" y="23"/>
                    </a:cubicBezTo>
                    <a:cubicBezTo>
                      <a:pt x="30" y="24"/>
                      <a:pt x="30" y="26"/>
                      <a:pt x="30" y="28"/>
                    </a:cubicBezTo>
                    <a:cubicBezTo>
                      <a:pt x="30" y="30"/>
                      <a:pt x="31" y="32"/>
                      <a:pt x="33" y="34"/>
                    </a:cubicBezTo>
                    <a:cubicBezTo>
                      <a:pt x="34" y="35"/>
                      <a:pt x="37" y="37"/>
                      <a:pt x="40" y="38"/>
                    </a:cubicBezTo>
                    <a:cubicBezTo>
                      <a:pt x="43" y="39"/>
                      <a:pt x="46" y="39"/>
                      <a:pt x="50" y="40"/>
                    </a:cubicBezTo>
                    <a:cubicBezTo>
                      <a:pt x="53" y="41"/>
                      <a:pt x="57" y="42"/>
                      <a:pt x="61" y="43"/>
                    </a:cubicBezTo>
                    <a:cubicBezTo>
                      <a:pt x="65" y="44"/>
                      <a:pt x="69" y="45"/>
                      <a:pt x="73" y="46"/>
                    </a:cubicBezTo>
                    <a:cubicBezTo>
                      <a:pt x="77" y="47"/>
                      <a:pt x="80" y="49"/>
                      <a:pt x="83" y="51"/>
                    </a:cubicBezTo>
                    <a:cubicBezTo>
                      <a:pt x="86" y="53"/>
                      <a:pt x="88" y="56"/>
                      <a:pt x="90" y="59"/>
                    </a:cubicBezTo>
                    <a:cubicBezTo>
                      <a:pt x="92" y="62"/>
                      <a:pt x="93" y="66"/>
                      <a:pt x="93" y="71"/>
                    </a:cubicBezTo>
                    <a:cubicBezTo>
                      <a:pt x="93" y="77"/>
                      <a:pt x="91" y="83"/>
                      <a:pt x="89" y="87"/>
                    </a:cubicBezTo>
                    <a:cubicBezTo>
                      <a:pt x="86" y="92"/>
                      <a:pt x="83" y="95"/>
                      <a:pt x="78" y="98"/>
                    </a:cubicBezTo>
                    <a:cubicBezTo>
                      <a:pt x="74" y="101"/>
                      <a:pt x="69" y="103"/>
                      <a:pt x="64" y="104"/>
                    </a:cubicBezTo>
                    <a:cubicBezTo>
                      <a:pt x="58" y="105"/>
                      <a:pt x="53" y="106"/>
                      <a:pt x="47" y="106"/>
                    </a:cubicBezTo>
                    <a:cubicBezTo>
                      <a:pt x="41" y="106"/>
                      <a:pt x="36" y="105"/>
                      <a:pt x="30" y="104"/>
                    </a:cubicBezTo>
                    <a:cubicBezTo>
                      <a:pt x="25" y="103"/>
                      <a:pt x="20" y="101"/>
                      <a:pt x="15" y="98"/>
                    </a:cubicBezTo>
                    <a:cubicBezTo>
                      <a:pt x="11" y="95"/>
                      <a:pt x="7" y="92"/>
                      <a:pt x="5" y="87"/>
                    </a:cubicBezTo>
                    <a:cubicBezTo>
                      <a:pt x="2" y="83"/>
                      <a:pt x="0" y="77"/>
                      <a:pt x="0" y="70"/>
                    </a:cubicBezTo>
                    <a:cubicBezTo>
                      <a:pt x="26" y="70"/>
                      <a:pt x="26" y="70"/>
                      <a:pt x="26" y="70"/>
                    </a:cubicBezTo>
                    <a:cubicBezTo>
                      <a:pt x="26" y="73"/>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12" fontAlgn="base">
                  <a:spcBef>
                    <a:spcPct val="0"/>
                  </a:spcBef>
                  <a:spcAft>
                    <a:spcPct val="0"/>
                  </a:spcAft>
                </a:pPr>
                <a:endParaRPr lang="en-GB" sz="1867">
                  <a:solidFill>
                    <a:srgbClr val="FFFFFF"/>
                  </a:solidFill>
                  <a:ea typeface="ＭＳ Ｐゴシック" pitchFamily="34" charset="-128"/>
                </a:endParaRPr>
              </a:p>
            </p:txBody>
          </p:sp>
        </p:grpSp>
      </p:grpSp>
    </p:spTree>
    <p:extLst>
      <p:ext uri="{BB962C8B-B14F-4D97-AF65-F5344CB8AC3E}">
        <p14:creationId xmlns:p14="http://schemas.microsoft.com/office/powerpoint/2010/main" val="3778420890"/>
      </p:ext>
    </p:extLst>
  </p:cSld>
  <p:clrMapOvr>
    <a:masterClrMapping/>
  </p:clrMapOvr>
  <p:transition spd="med">
    <p:fade/>
  </p:transition>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1" y="452970"/>
            <a:ext cx="11294532" cy="5507567"/>
          </a:xfrm>
        </p:spPr>
        <p:txBody>
          <a:bodyPr/>
          <a:lstStyle>
            <a:lvl1pPr>
              <a:lnSpc>
                <a:spcPct val="85000"/>
              </a:lnSpc>
              <a:spcAft>
                <a:spcPts val="0"/>
              </a:spcAft>
              <a:defRPr sz="4000">
                <a:solidFill>
                  <a:srgbClr val="FF6600"/>
                </a:solidFill>
                <a:latin typeface="Helvetica 75 Bold" panose="020B0804020202020204" pitchFamily="34" charset="0"/>
              </a:defRPr>
            </a:lvl1pPr>
            <a:lvl2pPr marL="535477" indent="-535477">
              <a:lnSpc>
                <a:spcPct val="85000"/>
              </a:lnSpc>
              <a:spcAft>
                <a:spcPts val="0"/>
              </a:spcAft>
              <a:buFont typeface="+mj-lt"/>
              <a:buAutoNum type="arabicPeriod"/>
              <a:defRPr sz="4000">
                <a:latin typeface="Helvetica 75 Bold" panose="020B0804020202020204" pitchFamily="34" charset="0"/>
              </a:defRPr>
            </a:lvl2pPr>
            <a:lvl3pPr marL="0" indent="0">
              <a:lnSpc>
                <a:spcPct val="85000"/>
              </a:lnSpc>
              <a:spcAft>
                <a:spcPts val="1067"/>
              </a:spcAft>
              <a:buFont typeface="+mj-lt"/>
              <a:buNone/>
              <a:defRPr sz="4000"/>
            </a:lvl3pPr>
            <a:lvl4pPr marL="0" indent="0">
              <a:lnSpc>
                <a:spcPct val="85000"/>
              </a:lnSpc>
              <a:spcAft>
                <a:spcPts val="1067"/>
              </a:spcAft>
              <a:buFont typeface="+mj-lt"/>
              <a:buNone/>
              <a:defRPr sz="4000"/>
            </a:lvl4pPr>
            <a:lvl5pPr marL="0" indent="0">
              <a:lnSpc>
                <a:spcPct val="85000"/>
              </a:lnSpc>
              <a:spcAft>
                <a:spcPts val="1067"/>
              </a:spcAft>
              <a:buFont typeface="+mj-lt"/>
              <a:buNone/>
              <a:defRPr sz="40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5470214"/>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1" y="452970"/>
            <a:ext cx="11294532" cy="5507567"/>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sz="1867">
                <a:latin typeface="Helvetica 75 Bold" panose="020B0804020202020204" pitchFamily="34" charset="0"/>
              </a:defRPr>
            </a:lvl2pPr>
            <a:lvl3pPr marL="0" indent="0">
              <a:lnSpc>
                <a:spcPct val="85000"/>
              </a:lnSpc>
              <a:spcAft>
                <a:spcPts val="1067"/>
              </a:spcAft>
              <a:buNone/>
              <a:defRPr sz="1600"/>
            </a:lvl3pPr>
            <a:lvl4pPr>
              <a:lnSpc>
                <a:spcPct val="85000"/>
              </a:lnSpc>
              <a:spcAft>
                <a:spcPts val="1067"/>
              </a:spcAft>
              <a:defRPr sz="7333"/>
            </a:lvl4pPr>
            <a:lvl5pPr>
              <a:lnSpc>
                <a:spcPct val="85000"/>
              </a:lnSpc>
              <a:spcAft>
                <a:spcPts val="1067"/>
              </a:spcAft>
              <a:defRPr sz="7333"/>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244920041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9"/>
            <a:ext cx="11294533" cy="831851"/>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71" y="1739902"/>
            <a:ext cx="11294532" cy="4220633"/>
          </a:xfrm>
        </p:spPr>
        <p:txBody>
          <a:bodyPr/>
          <a:lstStyle>
            <a:lvl1pPr>
              <a:lnSpc>
                <a:spcPct val="90000"/>
              </a:lnSpc>
              <a:spcAft>
                <a:spcPts val="1067"/>
              </a:spcAft>
              <a:defRPr sz="1867">
                <a:solidFill>
                  <a:srgbClr val="FF6600"/>
                </a:solidFill>
                <a:latin typeface="Helvetica 75 Bold" panose="020B0804020202020204" pitchFamily="34" charset="0"/>
              </a:defRPr>
            </a:lvl1pPr>
            <a:lvl2pPr>
              <a:lnSpc>
                <a:spcPct val="90000"/>
              </a:lnSpc>
              <a:spcAft>
                <a:spcPts val="1067"/>
              </a:spcAft>
              <a:defRPr sz="1867">
                <a:latin typeface="Helvetica 75 Bold" panose="020B0804020202020204" pitchFamily="34" charset="0"/>
              </a:defRPr>
            </a:lvl2pPr>
            <a:lvl3pPr>
              <a:lnSpc>
                <a:spcPct val="90000"/>
              </a:lnSpc>
              <a:spcAft>
                <a:spcPts val="1067"/>
              </a:spcAft>
              <a:defRPr sz="1867">
                <a:latin typeface="Helvetica 75 Bold" panose="020B0804020202020204" pitchFamily="34" charset="0"/>
              </a:defRPr>
            </a:lvl3pPr>
            <a:lvl4pPr>
              <a:lnSpc>
                <a:spcPct val="90000"/>
              </a:lnSpc>
              <a:spcAft>
                <a:spcPts val="1067"/>
              </a:spcAft>
              <a:defRPr sz="1867">
                <a:latin typeface="Helvetica 75 Bold" panose="020B0804020202020204" pitchFamily="34" charset="0"/>
              </a:defRPr>
            </a:lvl4pPr>
            <a:lvl5pPr>
              <a:lnSpc>
                <a:spcPct val="90000"/>
              </a:lnSpc>
              <a:spcAft>
                <a:spcPts val="1067"/>
              </a:spcAft>
              <a:defRPr sz="1867">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011590608"/>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69" y="1739900"/>
            <a:ext cx="5420785" cy="4220632"/>
          </a:xfrm>
        </p:spPr>
        <p:txBody>
          <a:bodyPr/>
          <a:lstStyle>
            <a:lvl1pPr>
              <a:lnSpc>
                <a:spcPct val="90000"/>
              </a:lnSpc>
              <a:spcAft>
                <a:spcPts val="1067"/>
              </a:spcAft>
              <a:defRPr>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2"/>
          <p:cNvSpPr>
            <a:spLocks noGrp="1"/>
          </p:cNvSpPr>
          <p:nvPr>
            <p:ph idx="10"/>
          </p:nvPr>
        </p:nvSpPr>
        <p:spPr>
          <a:xfrm>
            <a:off x="6318254" y="1739900"/>
            <a:ext cx="5420785" cy="4220632"/>
          </a:xfrm>
        </p:spPr>
        <p:txBody>
          <a:bodyPr/>
          <a:lstStyle>
            <a:lvl1pPr>
              <a:lnSpc>
                <a:spcPct val="90000"/>
              </a:lnSpc>
              <a:spcAft>
                <a:spcPts val="1067"/>
              </a:spcAft>
              <a:defRPr>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904974166"/>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ire et message clé">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1" y="1739903"/>
            <a:ext cx="11294532" cy="4220633"/>
          </a:xfrm>
        </p:spPr>
        <p:txBody>
          <a:bodyPr/>
          <a:lstStyle>
            <a:lvl1pPr>
              <a:lnSpc>
                <a:spcPct val="85000"/>
              </a:lnSpc>
              <a:spcAft>
                <a:spcPts val="3200"/>
              </a:spcAft>
              <a:defRPr sz="400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le 1"/>
          <p:cNvSpPr>
            <a:spLocks noGrp="1"/>
          </p:cNvSpPr>
          <p:nvPr>
            <p:ph type="title"/>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Tree>
    <p:extLst>
      <p:ext uri="{BB962C8B-B14F-4D97-AF65-F5344CB8AC3E}">
        <p14:creationId xmlns:p14="http://schemas.microsoft.com/office/powerpoint/2010/main" val="3554402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essage clé">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1" y="452970"/>
            <a:ext cx="11294532" cy="5507567"/>
          </a:xfrm>
        </p:spPr>
        <p:txBody>
          <a:bodyPr/>
          <a:lstStyle>
            <a:lvl1pPr>
              <a:lnSpc>
                <a:spcPct val="85000"/>
              </a:lnSpc>
              <a:spcAft>
                <a:spcPts val="3200"/>
              </a:spcAft>
              <a:defRPr sz="400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84691067"/>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spcAft>
                <a:spcPts val="0"/>
              </a:spcAft>
              <a:defRPr>
                <a:solidFill>
                  <a:srgbClr val="FF6600"/>
                </a:solidFill>
                <a:latin typeface="Helvetica 75 Bold" panose="020B0804020202020204" pitchFamily="34" charset="0"/>
              </a:defRPr>
            </a:lvl1pPr>
          </a:lstStyle>
          <a:p>
            <a:r>
              <a:rPr lang="fr-FR"/>
              <a:t>Modifiez le style du titre</a:t>
            </a:r>
            <a:endParaRPr lang="en-US"/>
          </a:p>
        </p:txBody>
      </p:sp>
    </p:spTree>
    <p:extLst>
      <p:ext uri="{BB962C8B-B14F-4D97-AF65-F5344CB8AC3E}">
        <p14:creationId xmlns:p14="http://schemas.microsoft.com/office/powerpoint/2010/main" val="326911154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452969"/>
            <a:ext cx="11294532" cy="5507567"/>
          </a:xfrm>
        </p:spPr>
        <p:txBody>
          <a:bodyPr/>
          <a:lstStyle>
            <a:lvl1pPr>
              <a:lnSpc>
                <a:spcPct val="85000"/>
              </a:lnSpc>
              <a:spcAft>
                <a:spcPts val="0"/>
              </a:spcAft>
              <a:defRPr sz="4000">
                <a:solidFill>
                  <a:srgbClr val="FF6600"/>
                </a:solidFill>
                <a:latin typeface="Helvetica 75 Bold" panose="020B0804020202020204" pitchFamily="34" charset="0"/>
              </a:defRPr>
            </a:lvl1pPr>
            <a:lvl2pPr marL="535491" indent="-535491">
              <a:lnSpc>
                <a:spcPct val="85000"/>
              </a:lnSpc>
              <a:spcAft>
                <a:spcPts val="0"/>
              </a:spcAft>
              <a:buFont typeface="+mj-lt"/>
              <a:buAutoNum type="arabicPeriod"/>
              <a:defRPr sz="4000">
                <a:latin typeface="Helvetica 75 Bold" panose="020B0804020202020204" pitchFamily="34" charset="0"/>
              </a:defRPr>
            </a:lvl2pPr>
            <a:lvl3pPr marL="0" indent="0">
              <a:lnSpc>
                <a:spcPct val="85000"/>
              </a:lnSpc>
              <a:spcAft>
                <a:spcPts val="1067"/>
              </a:spcAft>
              <a:buFont typeface="+mj-lt"/>
              <a:buNone/>
              <a:defRPr sz="4000"/>
            </a:lvl3pPr>
            <a:lvl4pPr marL="0" indent="0">
              <a:lnSpc>
                <a:spcPct val="85000"/>
              </a:lnSpc>
              <a:spcAft>
                <a:spcPts val="1067"/>
              </a:spcAft>
              <a:buFont typeface="+mj-lt"/>
              <a:buNone/>
              <a:defRPr sz="4000"/>
            </a:lvl4pPr>
            <a:lvl5pPr marL="0" indent="0">
              <a:lnSpc>
                <a:spcPct val="85000"/>
              </a:lnSpc>
              <a:spcAft>
                <a:spcPts val="1067"/>
              </a:spcAft>
              <a:buFont typeface="+mj-lt"/>
              <a:buNone/>
              <a:defRPr sz="40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962491299"/>
      </p:ext>
    </p:extLst>
  </p:cSld>
  <p:clrMapOvr>
    <a:masterClrMapping/>
  </p:clrMapOvr>
  <p:transition spd="med">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450328"/>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4" y="357720"/>
            <a:ext cx="6437997" cy="3069165"/>
          </a:xfrm>
        </p:spPr>
        <p:txBody>
          <a:bodyPr>
            <a:noAutofit/>
          </a:bodyPr>
          <a:lstStyle>
            <a:lvl1pPr algn="l">
              <a:lnSpc>
                <a:spcPct val="85000"/>
              </a:lnSpc>
              <a:defRPr sz="7333" baseline="0">
                <a:solidFill>
                  <a:schemeClr val="tx1"/>
                </a:solidFill>
              </a:defRPr>
            </a:lvl1pPr>
          </a:lstStyle>
          <a:p>
            <a:r>
              <a:rPr lang="fr-FR" noProof="0"/>
              <a:t>Cliquez pour modifier le titre</a:t>
            </a:r>
          </a:p>
        </p:txBody>
      </p:sp>
      <p:sp>
        <p:nvSpPr>
          <p:cNvPr id="17" name="Text Placeholder 17"/>
          <p:cNvSpPr>
            <a:spLocks noGrp="1"/>
          </p:cNvSpPr>
          <p:nvPr>
            <p:ph type="body" sz="quarter" idx="16" hasCustomPrompt="1"/>
          </p:nvPr>
        </p:nvSpPr>
        <p:spPr>
          <a:xfrm>
            <a:off x="7734300" y="355604"/>
            <a:ext cx="4038600" cy="4538133"/>
          </a:xfrm>
        </p:spPr>
        <p:txBody>
          <a:bodyPr/>
          <a:lstStyle>
            <a:lvl1pPr>
              <a:defRPr/>
            </a:lvl1pPr>
          </a:lstStyle>
          <a:p>
            <a:pPr lvl="0"/>
            <a:r>
              <a:rPr lang="fr-FR" noProof="0"/>
              <a:t>Cliquez pour modifier le texte</a:t>
            </a:r>
          </a:p>
          <a:p>
            <a:pPr lvl="1"/>
            <a:r>
              <a:rPr lang="fr-FR" noProof="0"/>
              <a:t>Deuxième niveau</a:t>
            </a:r>
          </a:p>
        </p:txBody>
      </p:sp>
      <p:sp>
        <p:nvSpPr>
          <p:cNvPr id="42" name="Subtitle 2"/>
          <p:cNvSpPr>
            <a:spLocks noGrp="1"/>
          </p:cNvSpPr>
          <p:nvPr>
            <p:ph type="subTitle" idx="1" hasCustomPrompt="1"/>
          </p:nvPr>
        </p:nvSpPr>
        <p:spPr>
          <a:xfrm>
            <a:off x="414251" y="3605525"/>
            <a:ext cx="6441580" cy="1288208"/>
          </a:xfrm>
        </p:spPr>
        <p:txBody>
          <a:bodyPr/>
          <a:lstStyle>
            <a:lvl1pPr marL="0" indent="0" algn="l">
              <a:buNone/>
              <a:defRPr baseline="0">
                <a:solidFill>
                  <a:schemeClr val="tx1"/>
                </a:solidFill>
              </a:defRPr>
            </a:lvl1pPr>
            <a:lvl2pPr marL="241283" indent="-241283" algn="l">
              <a:buClr>
                <a:schemeClr val="bg2"/>
              </a:buClr>
              <a:buSzPct val="100000"/>
              <a:buFont typeface="Wingdings" panose="05000000000000000000" pitchFamily="2" charset="2"/>
              <a:buChar char="§"/>
              <a:defRPr>
                <a:solidFill>
                  <a:schemeClr val="tx1"/>
                </a:solidFill>
              </a:defRPr>
            </a:lvl2pPr>
            <a:lvl3pPr marL="542360" indent="-254382"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40" indent="-230384" algn="l">
              <a:spcBef>
                <a:spcPts val="32"/>
              </a:spcBef>
              <a:buFont typeface="Helvetica 55 Roman" panose="020B0604020202020204" pitchFamily="34" charset="0"/>
              <a:buChar char="–"/>
              <a:defRPr>
                <a:solidFill>
                  <a:schemeClr val="tx1"/>
                </a:solidFill>
              </a:defRPr>
            </a:lvl4pPr>
            <a:lvl5pPr marL="1065520" indent="-254382" algn="l">
              <a:buFont typeface="Helvetica 55 Roman" panose="020B0604020202020204" pitchFamily="34" charset="0"/>
              <a:buChar char="–"/>
              <a:defRPr>
                <a:solidFill>
                  <a:schemeClr val="tx1"/>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fr-FR"/>
              <a:t>Cliquez pour modifier le nom du présentateur</a:t>
            </a:r>
          </a:p>
        </p:txBody>
      </p:sp>
      <p:grpSp>
        <p:nvGrpSpPr>
          <p:cNvPr id="3" name="Group 2"/>
          <p:cNvGrpSpPr/>
          <p:nvPr/>
        </p:nvGrpSpPr>
        <p:grpSpPr>
          <a:xfrm>
            <a:off x="418050" y="5645154"/>
            <a:ext cx="817033" cy="817033"/>
            <a:chOff x="313535" y="4233863"/>
            <a:chExt cx="612775" cy="612775"/>
          </a:xfrm>
        </p:grpSpPr>
        <p:sp>
          <p:nvSpPr>
            <p:cNvPr id="43" name="Rectangle 5"/>
            <p:cNvSpPr>
              <a:spLocks noChangeArrowheads="1"/>
            </p:cNvSpPr>
            <p:nvPr/>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4" name="Freeform 6"/>
            <p:cNvSpPr>
              <a:spLocks noEditPoints="1"/>
            </p:cNvSpPr>
            <p:nvPr/>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5" name="Freeform 7"/>
            <p:cNvSpPr>
              <a:spLocks/>
            </p:cNvSpPr>
            <p:nvPr/>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6" name="Freeform 8"/>
            <p:cNvSpPr>
              <a:spLocks noEditPoints="1"/>
            </p:cNvSpPr>
            <p:nvPr/>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7" name="Freeform 9"/>
            <p:cNvSpPr>
              <a:spLocks noEditPoints="1"/>
            </p:cNvSpPr>
            <p:nvPr/>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8" name="Freeform 10"/>
            <p:cNvSpPr>
              <a:spLocks/>
            </p:cNvSpPr>
            <p:nvPr/>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9" name="Freeform 11"/>
            <p:cNvSpPr>
              <a:spLocks noEditPoints="1"/>
            </p:cNvSpPr>
            <p:nvPr/>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50" name="Freeform 12"/>
            <p:cNvSpPr>
              <a:spLocks noEditPoints="1"/>
            </p:cNvSpPr>
            <p:nvPr/>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Tree>
    <p:extLst>
      <p:ext uri="{BB962C8B-B14F-4D97-AF65-F5344CB8AC3E}">
        <p14:creationId xmlns:p14="http://schemas.microsoft.com/office/powerpoint/2010/main" val="2034711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1" y="1574801"/>
            <a:ext cx="11353800" cy="449368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Title 1"/>
          <p:cNvSpPr>
            <a:spLocks noGrp="1"/>
          </p:cNvSpPr>
          <p:nvPr>
            <p:ph type="title" hasCustomPrompt="1"/>
          </p:nvPr>
        </p:nvSpPr>
        <p:spPr/>
        <p:txBody>
          <a:bodyPr/>
          <a:lstStyle>
            <a:lvl1pPr>
              <a:defRPr/>
            </a:lvl1pPr>
          </a:lstStyle>
          <a:p>
            <a:r>
              <a:rPr lang="en-US"/>
              <a:t>Click to edit title</a:t>
            </a:r>
            <a:endParaRPr lang="en-GB"/>
          </a:p>
        </p:txBody>
      </p:sp>
    </p:spTree>
    <p:extLst>
      <p:ext uri="{BB962C8B-B14F-4D97-AF65-F5344CB8AC3E}">
        <p14:creationId xmlns:p14="http://schemas.microsoft.com/office/powerpoint/2010/main" val="417879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8047" y="356826"/>
            <a:ext cx="6439052" cy="3072175"/>
          </a:xfrm>
        </p:spPr>
        <p:txBody>
          <a:bodyPr>
            <a:noAutofit/>
          </a:bodyPr>
          <a:lstStyle>
            <a:lvl1pPr algn="l">
              <a:lnSpc>
                <a:spcPct val="85000"/>
              </a:lnSpc>
              <a:defRPr sz="7333" baseline="0">
                <a:solidFill>
                  <a:schemeClr val="accent1"/>
                </a:solidFill>
              </a:defRPr>
            </a:lvl1pPr>
          </a:lstStyle>
          <a:p>
            <a:r>
              <a:rPr lang="en-US"/>
              <a:t>Click to edit title</a:t>
            </a:r>
            <a:endParaRPr lang="en-GB"/>
          </a:p>
        </p:txBody>
      </p:sp>
      <p:sp>
        <p:nvSpPr>
          <p:cNvPr id="17" name="Text Placeholder 17"/>
          <p:cNvSpPr>
            <a:spLocks noGrp="1"/>
          </p:cNvSpPr>
          <p:nvPr>
            <p:ph type="body" sz="quarter" idx="16" hasCustomPrompt="1"/>
          </p:nvPr>
        </p:nvSpPr>
        <p:spPr>
          <a:xfrm>
            <a:off x="7734301" y="355603"/>
            <a:ext cx="4038600" cy="4538133"/>
          </a:xfrm>
        </p:spPr>
        <p:txBody>
          <a:bodyPr/>
          <a:lstStyle>
            <a:lvl1pPr>
              <a:defRPr/>
            </a:lvl1pPr>
          </a:lstStyle>
          <a:p>
            <a:pPr lvl="0"/>
            <a:r>
              <a:rPr lang="en-US"/>
              <a:t>Click to edit text</a:t>
            </a:r>
          </a:p>
          <a:p>
            <a:pPr lvl="1"/>
            <a:r>
              <a:rPr lang="en-US"/>
              <a:t>Second level</a:t>
            </a:r>
          </a:p>
        </p:txBody>
      </p:sp>
      <p:sp>
        <p:nvSpPr>
          <p:cNvPr id="16" name="Subtitle 2"/>
          <p:cNvSpPr>
            <a:spLocks noGrp="1"/>
          </p:cNvSpPr>
          <p:nvPr>
            <p:ph type="subTitle" idx="1" hasCustomPrompt="1"/>
          </p:nvPr>
        </p:nvSpPr>
        <p:spPr>
          <a:xfrm>
            <a:off x="416779" y="3605525"/>
            <a:ext cx="6439052" cy="1288208"/>
          </a:xfrm>
        </p:spPr>
        <p:txBody>
          <a:bodyPr/>
          <a:lstStyle>
            <a:lvl1pPr marL="0" indent="0" algn="l">
              <a:buNone/>
              <a:defRPr baseline="0">
                <a:solidFill>
                  <a:schemeClr val="tx1"/>
                </a:solidFill>
              </a:defRPr>
            </a:lvl1pPr>
            <a:lvl2pPr marL="241289" indent="-241289" algn="l">
              <a:buClr>
                <a:schemeClr val="bg2"/>
              </a:buClr>
              <a:buSzPct val="100000"/>
              <a:buFont typeface="Wingdings" panose="05000000000000000000" pitchFamily="2" charset="2"/>
              <a:buChar char="§"/>
              <a:defRPr>
                <a:solidFill>
                  <a:schemeClr val="tx1"/>
                </a:solidFill>
              </a:defRPr>
            </a:lvl2pPr>
            <a:lvl3pPr marL="542373" indent="-254388"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60" indent="-230389" algn="l">
              <a:spcBef>
                <a:spcPts val="32"/>
              </a:spcBef>
              <a:buFont typeface="Helvetica 55 Roman" panose="020B0604020202020204" pitchFamily="34" charset="0"/>
              <a:buChar char="–"/>
              <a:defRPr>
                <a:solidFill>
                  <a:schemeClr val="tx1"/>
                </a:solidFill>
              </a:defRPr>
            </a:lvl4pPr>
            <a:lvl5pPr marL="1065547" indent="-254388" algn="l">
              <a:buFont typeface="Helvetica 55 Roman" panose="020B0604020202020204" pitchFamily="34" charset="0"/>
              <a:buChar char="–"/>
              <a:defRPr>
                <a:solidFill>
                  <a:schemeClr val="tx1"/>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presenter name</a:t>
            </a:r>
          </a:p>
        </p:txBody>
      </p:sp>
      <p:grpSp>
        <p:nvGrpSpPr>
          <p:cNvPr id="42" name="Group 41">
            <a:extLst>
              <a:ext uri="{FF2B5EF4-FFF2-40B4-BE49-F238E27FC236}">
                <a16:creationId xmlns:a16="http://schemas.microsoft.com/office/drawing/2014/main" id="{EAC6C0D2-28FA-4B18-BFAE-E37D2DCD4D6B}"/>
              </a:ext>
            </a:extLst>
          </p:cNvPr>
          <p:cNvGrpSpPr/>
          <p:nvPr/>
        </p:nvGrpSpPr>
        <p:grpSpPr>
          <a:xfrm>
            <a:off x="419102" y="5746751"/>
            <a:ext cx="3263900" cy="685800"/>
            <a:chOff x="314325" y="4310063"/>
            <a:chExt cx="2447925" cy="514350"/>
          </a:xfrm>
        </p:grpSpPr>
        <p:sp>
          <p:nvSpPr>
            <p:cNvPr id="26" name="Freeform 5">
              <a:extLst>
                <a:ext uri="{FF2B5EF4-FFF2-40B4-BE49-F238E27FC236}">
                  <a16:creationId xmlns:a16="http://schemas.microsoft.com/office/drawing/2014/main" id="{1006C298-DB65-4F2B-A9EE-26B4473AF6EB}"/>
                </a:ext>
              </a:extLst>
            </p:cNvPr>
            <p:cNvSpPr>
              <a:spLocks noEditPoints="1"/>
            </p:cNvSpPr>
            <p:nvPr/>
          </p:nvSpPr>
          <p:spPr bwMode="auto">
            <a:xfrm>
              <a:off x="987425" y="4413251"/>
              <a:ext cx="257175" cy="307975"/>
            </a:xfrm>
            <a:custGeom>
              <a:avLst/>
              <a:gdLst>
                <a:gd name="T0" fmla="*/ 213 w 379"/>
                <a:gd name="T1" fmla="*/ 0 h 453"/>
                <a:gd name="T2" fmla="*/ 272 w 379"/>
                <a:gd name="T3" fmla="*/ 6 h 453"/>
                <a:gd name="T4" fmla="*/ 318 w 379"/>
                <a:gd name="T5" fmla="*/ 24 h 453"/>
                <a:gd name="T6" fmla="*/ 347 w 379"/>
                <a:gd name="T7" fmla="*/ 59 h 453"/>
                <a:gd name="T8" fmla="*/ 358 w 379"/>
                <a:gd name="T9" fmla="*/ 112 h 453"/>
                <a:gd name="T10" fmla="*/ 342 w 379"/>
                <a:gd name="T11" fmla="*/ 169 h 453"/>
                <a:gd name="T12" fmla="*/ 296 w 379"/>
                <a:gd name="T13" fmla="*/ 207 h 453"/>
                <a:gd name="T14" fmla="*/ 359 w 379"/>
                <a:gd name="T15" fmla="*/ 249 h 453"/>
                <a:gd name="T16" fmla="*/ 379 w 379"/>
                <a:gd name="T17" fmla="*/ 322 h 453"/>
                <a:gd name="T18" fmla="*/ 366 w 379"/>
                <a:gd name="T19" fmla="*/ 381 h 453"/>
                <a:gd name="T20" fmla="*/ 330 w 379"/>
                <a:gd name="T21" fmla="*/ 422 h 453"/>
                <a:gd name="T22" fmla="*/ 279 w 379"/>
                <a:gd name="T23" fmla="*/ 446 h 453"/>
                <a:gd name="T24" fmla="*/ 219 w 379"/>
                <a:gd name="T25" fmla="*/ 453 h 453"/>
                <a:gd name="T26" fmla="*/ 0 w 379"/>
                <a:gd name="T27" fmla="*/ 453 h 453"/>
                <a:gd name="T28" fmla="*/ 0 w 379"/>
                <a:gd name="T29" fmla="*/ 0 h 453"/>
                <a:gd name="T30" fmla="*/ 213 w 379"/>
                <a:gd name="T31" fmla="*/ 0 h 453"/>
                <a:gd name="T32" fmla="*/ 200 w 379"/>
                <a:gd name="T33" fmla="*/ 183 h 453"/>
                <a:gd name="T34" fmla="*/ 244 w 379"/>
                <a:gd name="T35" fmla="*/ 171 h 453"/>
                <a:gd name="T36" fmla="*/ 261 w 379"/>
                <a:gd name="T37" fmla="*/ 129 h 453"/>
                <a:gd name="T38" fmla="*/ 256 w 379"/>
                <a:gd name="T39" fmla="*/ 103 h 453"/>
                <a:gd name="T40" fmla="*/ 240 w 379"/>
                <a:gd name="T41" fmla="*/ 88 h 453"/>
                <a:gd name="T42" fmla="*/ 218 w 379"/>
                <a:gd name="T43" fmla="*/ 80 h 453"/>
                <a:gd name="T44" fmla="*/ 193 w 379"/>
                <a:gd name="T45" fmla="*/ 77 h 453"/>
                <a:gd name="T46" fmla="*/ 99 w 379"/>
                <a:gd name="T47" fmla="*/ 77 h 453"/>
                <a:gd name="T48" fmla="*/ 99 w 379"/>
                <a:gd name="T49" fmla="*/ 183 h 453"/>
                <a:gd name="T50" fmla="*/ 200 w 379"/>
                <a:gd name="T51" fmla="*/ 183 h 453"/>
                <a:gd name="T52" fmla="*/ 206 w 379"/>
                <a:gd name="T53" fmla="*/ 376 h 453"/>
                <a:gd name="T54" fmla="*/ 234 w 379"/>
                <a:gd name="T55" fmla="*/ 373 h 453"/>
                <a:gd name="T56" fmla="*/ 257 w 379"/>
                <a:gd name="T57" fmla="*/ 363 h 453"/>
                <a:gd name="T58" fmla="*/ 274 w 379"/>
                <a:gd name="T59" fmla="*/ 345 h 453"/>
                <a:gd name="T60" fmla="*/ 280 w 379"/>
                <a:gd name="T61" fmla="*/ 316 h 453"/>
                <a:gd name="T62" fmla="*/ 260 w 379"/>
                <a:gd name="T63" fmla="*/ 266 h 453"/>
                <a:gd name="T64" fmla="*/ 208 w 379"/>
                <a:gd name="T65" fmla="*/ 251 h 453"/>
                <a:gd name="T66" fmla="*/ 99 w 379"/>
                <a:gd name="T67" fmla="*/ 251 h 453"/>
                <a:gd name="T68" fmla="*/ 99 w 379"/>
                <a:gd name="T69" fmla="*/ 376 h 453"/>
                <a:gd name="T70" fmla="*/ 206 w 379"/>
                <a:gd name="T71" fmla="*/ 37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9" h="453">
                  <a:moveTo>
                    <a:pt x="213" y="0"/>
                  </a:moveTo>
                  <a:cubicBezTo>
                    <a:pt x="235" y="0"/>
                    <a:pt x="254" y="2"/>
                    <a:pt x="272" y="6"/>
                  </a:cubicBezTo>
                  <a:cubicBezTo>
                    <a:pt x="290" y="9"/>
                    <a:pt x="305" y="16"/>
                    <a:pt x="318" y="24"/>
                  </a:cubicBezTo>
                  <a:cubicBezTo>
                    <a:pt x="330" y="33"/>
                    <a:pt x="340" y="45"/>
                    <a:pt x="347" y="59"/>
                  </a:cubicBezTo>
                  <a:cubicBezTo>
                    <a:pt x="354" y="73"/>
                    <a:pt x="358" y="91"/>
                    <a:pt x="358" y="112"/>
                  </a:cubicBezTo>
                  <a:cubicBezTo>
                    <a:pt x="358" y="135"/>
                    <a:pt x="353" y="154"/>
                    <a:pt x="342" y="169"/>
                  </a:cubicBezTo>
                  <a:cubicBezTo>
                    <a:pt x="332" y="185"/>
                    <a:pt x="316" y="197"/>
                    <a:pt x="296" y="207"/>
                  </a:cubicBezTo>
                  <a:cubicBezTo>
                    <a:pt x="324" y="215"/>
                    <a:pt x="345" y="229"/>
                    <a:pt x="359" y="249"/>
                  </a:cubicBezTo>
                  <a:cubicBezTo>
                    <a:pt x="372" y="269"/>
                    <a:pt x="379" y="293"/>
                    <a:pt x="379" y="322"/>
                  </a:cubicBezTo>
                  <a:cubicBezTo>
                    <a:pt x="379" y="345"/>
                    <a:pt x="375" y="364"/>
                    <a:pt x="366" y="381"/>
                  </a:cubicBezTo>
                  <a:cubicBezTo>
                    <a:pt x="357" y="398"/>
                    <a:pt x="345" y="412"/>
                    <a:pt x="330" y="422"/>
                  </a:cubicBezTo>
                  <a:cubicBezTo>
                    <a:pt x="315" y="433"/>
                    <a:pt x="298" y="441"/>
                    <a:pt x="279" y="446"/>
                  </a:cubicBezTo>
                  <a:cubicBezTo>
                    <a:pt x="259" y="451"/>
                    <a:pt x="240" y="453"/>
                    <a:pt x="219" y="453"/>
                  </a:cubicBezTo>
                  <a:cubicBezTo>
                    <a:pt x="0" y="453"/>
                    <a:pt x="0" y="453"/>
                    <a:pt x="0" y="453"/>
                  </a:cubicBezTo>
                  <a:cubicBezTo>
                    <a:pt x="0" y="0"/>
                    <a:pt x="0" y="0"/>
                    <a:pt x="0" y="0"/>
                  </a:cubicBezTo>
                  <a:lnTo>
                    <a:pt x="213" y="0"/>
                  </a:lnTo>
                  <a:close/>
                  <a:moveTo>
                    <a:pt x="200" y="183"/>
                  </a:moveTo>
                  <a:cubicBezTo>
                    <a:pt x="218" y="183"/>
                    <a:pt x="233" y="179"/>
                    <a:pt x="244" y="171"/>
                  </a:cubicBezTo>
                  <a:cubicBezTo>
                    <a:pt x="256" y="162"/>
                    <a:pt x="261" y="149"/>
                    <a:pt x="261" y="129"/>
                  </a:cubicBezTo>
                  <a:cubicBezTo>
                    <a:pt x="261" y="119"/>
                    <a:pt x="259" y="110"/>
                    <a:pt x="256" y="103"/>
                  </a:cubicBezTo>
                  <a:cubicBezTo>
                    <a:pt x="252" y="97"/>
                    <a:pt x="247" y="91"/>
                    <a:pt x="240" y="88"/>
                  </a:cubicBezTo>
                  <a:cubicBezTo>
                    <a:pt x="234" y="84"/>
                    <a:pt x="227" y="81"/>
                    <a:pt x="218" y="80"/>
                  </a:cubicBezTo>
                  <a:cubicBezTo>
                    <a:pt x="210" y="78"/>
                    <a:pt x="202" y="77"/>
                    <a:pt x="193" y="77"/>
                  </a:cubicBezTo>
                  <a:cubicBezTo>
                    <a:pt x="99" y="77"/>
                    <a:pt x="99" y="77"/>
                    <a:pt x="99" y="77"/>
                  </a:cubicBezTo>
                  <a:cubicBezTo>
                    <a:pt x="99" y="183"/>
                    <a:pt x="99" y="183"/>
                    <a:pt x="99" y="183"/>
                  </a:cubicBezTo>
                  <a:lnTo>
                    <a:pt x="200" y="183"/>
                  </a:lnTo>
                  <a:close/>
                  <a:moveTo>
                    <a:pt x="206" y="376"/>
                  </a:moveTo>
                  <a:cubicBezTo>
                    <a:pt x="216" y="376"/>
                    <a:pt x="225" y="375"/>
                    <a:pt x="234" y="373"/>
                  </a:cubicBezTo>
                  <a:cubicBezTo>
                    <a:pt x="243" y="371"/>
                    <a:pt x="251" y="368"/>
                    <a:pt x="257" y="363"/>
                  </a:cubicBezTo>
                  <a:cubicBezTo>
                    <a:pt x="264" y="359"/>
                    <a:pt x="270" y="353"/>
                    <a:pt x="274" y="345"/>
                  </a:cubicBezTo>
                  <a:cubicBezTo>
                    <a:pt x="278" y="338"/>
                    <a:pt x="280" y="328"/>
                    <a:pt x="280" y="316"/>
                  </a:cubicBezTo>
                  <a:cubicBezTo>
                    <a:pt x="280" y="293"/>
                    <a:pt x="273" y="276"/>
                    <a:pt x="260" y="266"/>
                  </a:cubicBezTo>
                  <a:cubicBezTo>
                    <a:pt x="247" y="256"/>
                    <a:pt x="229" y="251"/>
                    <a:pt x="208" y="251"/>
                  </a:cubicBezTo>
                  <a:cubicBezTo>
                    <a:pt x="99" y="251"/>
                    <a:pt x="99" y="251"/>
                    <a:pt x="99" y="251"/>
                  </a:cubicBezTo>
                  <a:cubicBezTo>
                    <a:pt x="99" y="376"/>
                    <a:pt x="99" y="376"/>
                    <a:pt x="99" y="376"/>
                  </a:cubicBezTo>
                  <a:lnTo>
                    <a:pt x="206" y="37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7" name="Freeform 6">
              <a:extLst>
                <a:ext uri="{FF2B5EF4-FFF2-40B4-BE49-F238E27FC236}">
                  <a16:creationId xmlns:a16="http://schemas.microsoft.com/office/drawing/2014/main" id="{C413873F-B596-4126-9F0B-5B23ECE87820}"/>
                </a:ext>
              </a:extLst>
            </p:cNvPr>
            <p:cNvSpPr>
              <a:spLocks/>
            </p:cNvSpPr>
            <p:nvPr/>
          </p:nvSpPr>
          <p:spPr bwMode="auto">
            <a:xfrm>
              <a:off x="1276350" y="4497388"/>
              <a:ext cx="209550" cy="230188"/>
            </a:xfrm>
            <a:custGeom>
              <a:avLst/>
              <a:gdLst>
                <a:gd name="T0" fmla="*/ 222 w 308"/>
                <a:gd name="T1" fmla="*/ 328 h 337"/>
                <a:gd name="T2" fmla="*/ 222 w 308"/>
                <a:gd name="T3" fmla="*/ 283 h 337"/>
                <a:gd name="T4" fmla="*/ 220 w 308"/>
                <a:gd name="T5" fmla="*/ 283 h 337"/>
                <a:gd name="T6" fmla="*/ 176 w 308"/>
                <a:gd name="T7" fmla="*/ 324 h 337"/>
                <a:gd name="T8" fmla="*/ 120 w 308"/>
                <a:gd name="T9" fmla="*/ 337 h 337"/>
                <a:gd name="T10" fmla="*/ 61 w 308"/>
                <a:gd name="T11" fmla="*/ 327 h 337"/>
                <a:gd name="T12" fmla="*/ 24 w 308"/>
                <a:gd name="T13" fmla="*/ 300 h 337"/>
                <a:gd name="T14" fmla="*/ 5 w 308"/>
                <a:gd name="T15" fmla="*/ 257 h 337"/>
                <a:gd name="T16" fmla="*/ 0 w 308"/>
                <a:gd name="T17" fmla="*/ 202 h 337"/>
                <a:gd name="T18" fmla="*/ 0 w 308"/>
                <a:gd name="T19" fmla="*/ 0 h 337"/>
                <a:gd name="T20" fmla="*/ 90 w 308"/>
                <a:gd name="T21" fmla="*/ 0 h 337"/>
                <a:gd name="T22" fmla="*/ 90 w 308"/>
                <a:gd name="T23" fmla="*/ 185 h 337"/>
                <a:gd name="T24" fmla="*/ 103 w 308"/>
                <a:gd name="T25" fmla="*/ 246 h 337"/>
                <a:gd name="T26" fmla="*/ 148 w 308"/>
                <a:gd name="T27" fmla="*/ 266 h 337"/>
                <a:gd name="T28" fmla="*/ 201 w 308"/>
                <a:gd name="T29" fmla="*/ 244 h 337"/>
                <a:gd name="T30" fmla="*/ 218 w 308"/>
                <a:gd name="T31" fmla="*/ 172 h 337"/>
                <a:gd name="T32" fmla="*/ 218 w 308"/>
                <a:gd name="T33" fmla="*/ 0 h 337"/>
                <a:gd name="T34" fmla="*/ 308 w 308"/>
                <a:gd name="T35" fmla="*/ 0 h 337"/>
                <a:gd name="T36" fmla="*/ 308 w 308"/>
                <a:gd name="T37" fmla="*/ 328 h 337"/>
                <a:gd name="T38" fmla="*/ 222 w 308"/>
                <a:gd name="T39" fmla="*/ 32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37">
                  <a:moveTo>
                    <a:pt x="222" y="328"/>
                  </a:moveTo>
                  <a:cubicBezTo>
                    <a:pt x="222" y="283"/>
                    <a:pt x="222" y="283"/>
                    <a:pt x="222" y="283"/>
                  </a:cubicBezTo>
                  <a:cubicBezTo>
                    <a:pt x="220" y="283"/>
                    <a:pt x="220" y="283"/>
                    <a:pt x="220" y="283"/>
                  </a:cubicBezTo>
                  <a:cubicBezTo>
                    <a:pt x="209" y="302"/>
                    <a:pt x="194" y="315"/>
                    <a:pt x="176" y="324"/>
                  </a:cubicBezTo>
                  <a:cubicBezTo>
                    <a:pt x="158" y="332"/>
                    <a:pt x="139" y="337"/>
                    <a:pt x="120" y="337"/>
                  </a:cubicBezTo>
                  <a:cubicBezTo>
                    <a:pt x="96" y="337"/>
                    <a:pt x="76" y="333"/>
                    <a:pt x="61" y="327"/>
                  </a:cubicBezTo>
                  <a:cubicBezTo>
                    <a:pt x="45" y="321"/>
                    <a:pt x="33" y="312"/>
                    <a:pt x="24" y="300"/>
                  </a:cubicBezTo>
                  <a:cubicBezTo>
                    <a:pt x="15" y="288"/>
                    <a:pt x="9" y="274"/>
                    <a:pt x="5" y="257"/>
                  </a:cubicBezTo>
                  <a:cubicBezTo>
                    <a:pt x="2" y="241"/>
                    <a:pt x="0" y="222"/>
                    <a:pt x="0" y="202"/>
                  </a:cubicBezTo>
                  <a:cubicBezTo>
                    <a:pt x="0" y="0"/>
                    <a:pt x="0" y="0"/>
                    <a:pt x="0" y="0"/>
                  </a:cubicBezTo>
                  <a:cubicBezTo>
                    <a:pt x="90" y="0"/>
                    <a:pt x="90" y="0"/>
                    <a:pt x="90" y="0"/>
                  </a:cubicBezTo>
                  <a:cubicBezTo>
                    <a:pt x="90" y="185"/>
                    <a:pt x="90" y="185"/>
                    <a:pt x="90" y="185"/>
                  </a:cubicBezTo>
                  <a:cubicBezTo>
                    <a:pt x="90" y="213"/>
                    <a:pt x="94" y="233"/>
                    <a:pt x="103" y="246"/>
                  </a:cubicBezTo>
                  <a:cubicBezTo>
                    <a:pt x="111" y="259"/>
                    <a:pt x="126" y="266"/>
                    <a:pt x="148" y="266"/>
                  </a:cubicBezTo>
                  <a:cubicBezTo>
                    <a:pt x="172" y="266"/>
                    <a:pt x="190" y="259"/>
                    <a:pt x="201" y="244"/>
                  </a:cubicBezTo>
                  <a:cubicBezTo>
                    <a:pt x="212" y="230"/>
                    <a:pt x="218" y="206"/>
                    <a:pt x="218" y="172"/>
                  </a:cubicBezTo>
                  <a:cubicBezTo>
                    <a:pt x="218" y="0"/>
                    <a:pt x="218" y="0"/>
                    <a:pt x="218" y="0"/>
                  </a:cubicBezTo>
                  <a:cubicBezTo>
                    <a:pt x="308" y="0"/>
                    <a:pt x="308" y="0"/>
                    <a:pt x="308" y="0"/>
                  </a:cubicBezTo>
                  <a:cubicBezTo>
                    <a:pt x="308" y="328"/>
                    <a:pt x="308" y="328"/>
                    <a:pt x="308" y="328"/>
                  </a:cubicBezTo>
                  <a:lnTo>
                    <a:pt x="222" y="3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8" name="Freeform 7">
              <a:extLst>
                <a:ext uri="{FF2B5EF4-FFF2-40B4-BE49-F238E27FC236}">
                  <a16:creationId xmlns:a16="http://schemas.microsoft.com/office/drawing/2014/main" id="{33551E3B-B69B-404C-81B2-BD23385A3704}"/>
                </a:ext>
              </a:extLst>
            </p:cNvPr>
            <p:cNvSpPr>
              <a:spLocks/>
            </p:cNvSpPr>
            <p:nvPr/>
          </p:nvSpPr>
          <p:spPr bwMode="auto">
            <a:xfrm>
              <a:off x="1514475" y="4491038"/>
              <a:ext cx="206375" cy="236538"/>
            </a:xfrm>
            <a:custGeom>
              <a:avLst/>
              <a:gdLst>
                <a:gd name="T0" fmla="*/ 92 w 304"/>
                <a:gd name="T1" fmla="*/ 256 h 346"/>
                <a:gd name="T2" fmla="*/ 108 w 304"/>
                <a:gd name="T3" fmla="*/ 273 h 346"/>
                <a:gd name="T4" fmla="*/ 129 w 304"/>
                <a:gd name="T5" fmla="*/ 283 h 346"/>
                <a:gd name="T6" fmla="*/ 155 w 304"/>
                <a:gd name="T7" fmla="*/ 286 h 346"/>
                <a:gd name="T8" fmla="*/ 175 w 304"/>
                <a:gd name="T9" fmla="*/ 284 h 346"/>
                <a:gd name="T10" fmla="*/ 194 w 304"/>
                <a:gd name="T11" fmla="*/ 277 h 346"/>
                <a:gd name="T12" fmla="*/ 209 w 304"/>
                <a:gd name="T13" fmla="*/ 264 h 346"/>
                <a:gd name="T14" fmla="*/ 214 w 304"/>
                <a:gd name="T15" fmla="*/ 244 h 346"/>
                <a:gd name="T16" fmla="*/ 187 w 304"/>
                <a:gd name="T17" fmla="*/ 213 h 346"/>
                <a:gd name="T18" fmla="*/ 112 w 304"/>
                <a:gd name="T19" fmla="*/ 193 h 346"/>
                <a:gd name="T20" fmla="*/ 74 w 304"/>
                <a:gd name="T21" fmla="*/ 183 h 346"/>
                <a:gd name="T22" fmla="*/ 40 w 304"/>
                <a:gd name="T23" fmla="*/ 167 h 346"/>
                <a:gd name="T24" fmla="*/ 17 w 304"/>
                <a:gd name="T25" fmla="*/ 142 h 346"/>
                <a:gd name="T26" fmla="*/ 8 w 304"/>
                <a:gd name="T27" fmla="*/ 106 h 346"/>
                <a:gd name="T28" fmla="*/ 20 w 304"/>
                <a:gd name="T29" fmla="*/ 53 h 346"/>
                <a:gd name="T30" fmla="*/ 53 w 304"/>
                <a:gd name="T31" fmla="*/ 21 h 346"/>
                <a:gd name="T32" fmla="*/ 99 w 304"/>
                <a:gd name="T33" fmla="*/ 5 h 346"/>
                <a:gd name="T34" fmla="*/ 151 w 304"/>
                <a:gd name="T35" fmla="*/ 0 h 346"/>
                <a:gd name="T36" fmla="*/ 203 w 304"/>
                <a:gd name="T37" fmla="*/ 5 h 346"/>
                <a:gd name="T38" fmla="*/ 247 w 304"/>
                <a:gd name="T39" fmla="*/ 22 h 346"/>
                <a:gd name="T40" fmla="*/ 280 w 304"/>
                <a:gd name="T41" fmla="*/ 54 h 346"/>
                <a:gd name="T42" fmla="*/ 296 w 304"/>
                <a:gd name="T43" fmla="*/ 105 h 346"/>
                <a:gd name="T44" fmla="*/ 210 w 304"/>
                <a:gd name="T45" fmla="*/ 105 h 346"/>
                <a:gd name="T46" fmla="*/ 190 w 304"/>
                <a:gd name="T47" fmla="*/ 70 h 346"/>
                <a:gd name="T48" fmla="*/ 148 w 304"/>
                <a:gd name="T49" fmla="*/ 60 h 346"/>
                <a:gd name="T50" fmla="*/ 132 w 304"/>
                <a:gd name="T51" fmla="*/ 61 h 346"/>
                <a:gd name="T52" fmla="*/ 116 w 304"/>
                <a:gd name="T53" fmla="*/ 66 h 346"/>
                <a:gd name="T54" fmla="*/ 103 w 304"/>
                <a:gd name="T55" fmla="*/ 75 h 346"/>
                <a:gd name="T56" fmla="*/ 98 w 304"/>
                <a:gd name="T57" fmla="*/ 91 h 346"/>
                <a:gd name="T58" fmla="*/ 107 w 304"/>
                <a:gd name="T59" fmla="*/ 111 h 346"/>
                <a:gd name="T60" fmla="*/ 130 w 304"/>
                <a:gd name="T61" fmla="*/ 123 h 346"/>
                <a:gd name="T62" fmla="*/ 163 w 304"/>
                <a:gd name="T63" fmla="*/ 132 h 346"/>
                <a:gd name="T64" fmla="*/ 200 w 304"/>
                <a:gd name="T65" fmla="*/ 140 h 346"/>
                <a:gd name="T66" fmla="*/ 239 w 304"/>
                <a:gd name="T67" fmla="*/ 151 h 346"/>
                <a:gd name="T68" fmla="*/ 272 w 304"/>
                <a:gd name="T69" fmla="*/ 167 h 346"/>
                <a:gd name="T70" fmla="*/ 296 w 304"/>
                <a:gd name="T71" fmla="*/ 193 h 346"/>
                <a:gd name="T72" fmla="*/ 304 w 304"/>
                <a:gd name="T73" fmla="*/ 232 h 346"/>
                <a:gd name="T74" fmla="*/ 291 w 304"/>
                <a:gd name="T75" fmla="*/ 286 h 346"/>
                <a:gd name="T76" fmla="*/ 257 w 304"/>
                <a:gd name="T77" fmla="*/ 321 h 346"/>
                <a:gd name="T78" fmla="*/ 209 w 304"/>
                <a:gd name="T79" fmla="*/ 340 h 346"/>
                <a:gd name="T80" fmla="*/ 155 w 304"/>
                <a:gd name="T81" fmla="*/ 346 h 346"/>
                <a:gd name="T82" fmla="*/ 99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8" y="273"/>
                  </a:cubicBezTo>
                  <a:cubicBezTo>
                    <a:pt x="114" y="277"/>
                    <a:pt x="121" y="281"/>
                    <a:pt x="129" y="283"/>
                  </a:cubicBezTo>
                  <a:cubicBezTo>
                    <a:pt x="138" y="285"/>
                    <a:pt x="146" y="286"/>
                    <a:pt x="155" y="286"/>
                  </a:cubicBezTo>
                  <a:cubicBezTo>
                    <a:pt x="162" y="286"/>
                    <a:pt x="168" y="285"/>
                    <a:pt x="175" y="284"/>
                  </a:cubicBezTo>
                  <a:cubicBezTo>
                    <a:pt x="182" y="282"/>
                    <a:pt x="189" y="280"/>
                    <a:pt x="194" y="277"/>
                  </a:cubicBezTo>
                  <a:cubicBezTo>
                    <a:pt x="200" y="273"/>
                    <a:pt x="205" y="269"/>
                    <a:pt x="209" y="264"/>
                  </a:cubicBezTo>
                  <a:cubicBezTo>
                    <a:pt x="212" y="259"/>
                    <a:pt x="214" y="252"/>
                    <a:pt x="214" y="244"/>
                  </a:cubicBezTo>
                  <a:cubicBezTo>
                    <a:pt x="214" y="230"/>
                    <a:pt x="205" y="220"/>
                    <a:pt x="187" y="213"/>
                  </a:cubicBezTo>
                  <a:cubicBezTo>
                    <a:pt x="169" y="207"/>
                    <a:pt x="144" y="200"/>
                    <a:pt x="112" y="193"/>
                  </a:cubicBezTo>
                  <a:cubicBezTo>
                    <a:pt x="99" y="190"/>
                    <a:pt x="86" y="187"/>
                    <a:pt x="74" y="183"/>
                  </a:cubicBezTo>
                  <a:cubicBezTo>
                    <a:pt x="61" y="179"/>
                    <a:pt x="50" y="173"/>
                    <a:pt x="40" y="167"/>
                  </a:cubicBezTo>
                  <a:cubicBezTo>
                    <a:pt x="31" y="160"/>
                    <a:pt x="23" y="152"/>
                    <a:pt x="17" y="142"/>
                  </a:cubicBezTo>
                  <a:cubicBezTo>
                    <a:pt x="11" y="132"/>
                    <a:pt x="8" y="120"/>
                    <a:pt x="8" y="106"/>
                  </a:cubicBezTo>
                  <a:cubicBezTo>
                    <a:pt x="8" y="84"/>
                    <a:pt x="12" y="67"/>
                    <a:pt x="20" y="53"/>
                  </a:cubicBezTo>
                  <a:cubicBezTo>
                    <a:pt x="29" y="40"/>
                    <a:pt x="39" y="29"/>
                    <a:pt x="53" y="21"/>
                  </a:cubicBezTo>
                  <a:cubicBezTo>
                    <a:pt x="67" y="14"/>
                    <a:pt x="82" y="8"/>
                    <a:pt x="99" y="5"/>
                  </a:cubicBezTo>
                  <a:cubicBezTo>
                    <a:pt x="116" y="2"/>
                    <a:pt x="133" y="0"/>
                    <a:pt x="151" y="0"/>
                  </a:cubicBezTo>
                  <a:cubicBezTo>
                    <a:pt x="169" y="0"/>
                    <a:pt x="186" y="2"/>
                    <a:pt x="203" y="5"/>
                  </a:cubicBezTo>
                  <a:cubicBezTo>
                    <a:pt x="219" y="9"/>
                    <a:pt x="234" y="14"/>
                    <a:pt x="247" y="22"/>
                  </a:cubicBezTo>
                  <a:cubicBezTo>
                    <a:pt x="260" y="30"/>
                    <a:pt x="271" y="41"/>
                    <a:pt x="280" y="54"/>
                  </a:cubicBezTo>
                  <a:cubicBezTo>
                    <a:pt x="289" y="68"/>
                    <a:pt x="294" y="85"/>
                    <a:pt x="296" y="105"/>
                  </a:cubicBezTo>
                  <a:cubicBezTo>
                    <a:pt x="210" y="105"/>
                    <a:pt x="210" y="105"/>
                    <a:pt x="210" y="105"/>
                  </a:cubicBezTo>
                  <a:cubicBezTo>
                    <a:pt x="209" y="88"/>
                    <a:pt x="202" y="76"/>
                    <a:pt x="190" y="70"/>
                  </a:cubicBezTo>
                  <a:cubicBezTo>
                    <a:pt x="178" y="64"/>
                    <a:pt x="164" y="60"/>
                    <a:pt x="148" y="60"/>
                  </a:cubicBezTo>
                  <a:cubicBezTo>
                    <a:pt x="143" y="60"/>
                    <a:pt x="138" y="61"/>
                    <a:pt x="132" y="61"/>
                  </a:cubicBezTo>
                  <a:cubicBezTo>
                    <a:pt x="126" y="62"/>
                    <a:pt x="120" y="63"/>
                    <a:pt x="116" y="66"/>
                  </a:cubicBezTo>
                  <a:cubicBezTo>
                    <a:pt x="111" y="68"/>
                    <a:pt x="107" y="71"/>
                    <a:pt x="103" y="75"/>
                  </a:cubicBezTo>
                  <a:cubicBezTo>
                    <a:pt x="100" y="79"/>
                    <a:pt x="98" y="84"/>
                    <a:pt x="98" y="91"/>
                  </a:cubicBezTo>
                  <a:cubicBezTo>
                    <a:pt x="98" y="99"/>
                    <a:pt x="101" y="106"/>
                    <a:pt x="107" y="111"/>
                  </a:cubicBezTo>
                  <a:cubicBezTo>
                    <a:pt x="113" y="116"/>
                    <a:pt x="121" y="120"/>
                    <a:pt x="130" y="123"/>
                  </a:cubicBezTo>
                  <a:cubicBezTo>
                    <a:pt x="140" y="126"/>
                    <a:pt x="151" y="129"/>
                    <a:pt x="163" y="132"/>
                  </a:cubicBezTo>
                  <a:cubicBezTo>
                    <a:pt x="175" y="134"/>
                    <a:pt x="188" y="137"/>
                    <a:pt x="200" y="140"/>
                  </a:cubicBezTo>
                  <a:cubicBezTo>
                    <a:pt x="213" y="143"/>
                    <a:pt x="226" y="146"/>
                    <a:pt x="239" y="151"/>
                  </a:cubicBezTo>
                  <a:cubicBezTo>
                    <a:pt x="251" y="155"/>
                    <a:pt x="262" y="160"/>
                    <a:pt x="272" y="167"/>
                  </a:cubicBezTo>
                  <a:cubicBezTo>
                    <a:pt x="282" y="174"/>
                    <a:pt x="290" y="183"/>
                    <a:pt x="296" y="193"/>
                  </a:cubicBezTo>
                  <a:cubicBezTo>
                    <a:pt x="301" y="204"/>
                    <a:pt x="304" y="217"/>
                    <a:pt x="304" y="232"/>
                  </a:cubicBezTo>
                  <a:cubicBezTo>
                    <a:pt x="304" y="253"/>
                    <a:pt x="300" y="272"/>
                    <a:pt x="291" y="286"/>
                  </a:cubicBezTo>
                  <a:cubicBezTo>
                    <a:pt x="283" y="301"/>
                    <a:pt x="271" y="313"/>
                    <a:pt x="257" y="321"/>
                  </a:cubicBezTo>
                  <a:cubicBezTo>
                    <a:pt x="243" y="330"/>
                    <a:pt x="227" y="337"/>
                    <a:pt x="209" y="340"/>
                  </a:cubicBezTo>
                  <a:cubicBezTo>
                    <a:pt x="192" y="344"/>
                    <a:pt x="173" y="346"/>
                    <a:pt x="155" y="346"/>
                  </a:cubicBezTo>
                  <a:cubicBezTo>
                    <a:pt x="136" y="346"/>
                    <a:pt x="117" y="344"/>
                    <a:pt x="99"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9" name="Freeform 8">
              <a:extLst>
                <a:ext uri="{FF2B5EF4-FFF2-40B4-BE49-F238E27FC236}">
                  <a16:creationId xmlns:a16="http://schemas.microsoft.com/office/drawing/2014/main" id="{CA29777D-3DDB-40B1-A949-832B1B2897DB}"/>
                </a:ext>
              </a:extLst>
            </p:cNvPr>
            <p:cNvSpPr>
              <a:spLocks noEditPoints="1"/>
            </p:cNvSpPr>
            <p:nvPr/>
          </p:nvSpPr>
          <p:spPr bwMode="auto">
            <a:xfrm>
              <a:off x="1752600" y="4413251"/>
              <a:ext cx="60325" cy="307975"/>
            </a:xfrm>
            <a:custGeom>
              <a:avLst/>
              <a:gdLst>
                <a:gd name="T0" fmla="*/ 0 w 38"/>
                <a:gd name="T1" fmla="*/ 31 h 194"/>
                <a:gd name="T2" fmla="*/ 0 w 38"/>
                <a:gd name="T3" fmla="*/ 0 h 194"/>
                <a:gd name="T4" fmla="*/ 38 w 38"/>
                <a:gd name="T5" fmla="*/ 0 h 194"/>
                <a:gd name="T6" fmla="*/ 38 w 38"/>
                <a:gd name="T7" fmla="*/ 31 h 194"/>
                <a:gd name="T8" fmla="*/ 0 w 38"/>
                <a:gd name="T9" fmla="*/ 31 h 194"/>
                <a:gd name="T10" fmla="*/ 38 w 38"/>
                <a:gd name="T11" fmla="*/ 53 h 194"/>
                <a:gd name="T12" fmla="*/ 38 w 38"/>
                <a:gd name="T13" fmla="*/ 194 h 194"/>
                <a:gd name="T14" fmla="*/ 0 w 38"/>
                <a:gd name="T15" fmla="*/ 194 h 194"/>
                <a:gd name="T16" fmla="*/ 0 w 38"/>
                <a:gd name="T17" fmla="*/ 53 h 194"/>
                <a:gd name="T18" fmla="*/ 38 w 38"/>
                <a:gd name="T19" fmla="*/ 5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94">
                  <a:moveTo>
                    <a:pt x="0" y="31"/>
                  </a:moveTo>
                  <a:lnTo>
                    <a:pt x="0" y="0"/>
                  </a:lnTo>
                  <a:lnTo>
                    <a:pt x="38" y="0"/>
                  </a:lnTo>
                  <a:lnTo>
                    <a:pt x="38" y="31"/>
                  </a:lnTo>
                  <a:lnTo>
                    <a:pt x="0" y="31"/>
                  </a:lnTo>
                  <a:close/>
                  <a:moveTo>
                    <a:pt x="38" y="53"/>
                  </a:moveTo>
                  <a:lnTo>
                    <a:pt x="38" y="194"/>
                  </a:lnTo>
                  <a:lnTo>
                    <a:pt x="0" y="194"/>
                  </a:lnTo>
                  <a:lnTo>
                    <a:pt x="0" y="53"/>
                  </a:lnTo>
                  <a:lnTo>
                    <a:pt x="38"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0" name="Freeform 9">
              <a:extLst>
                <a:ext uri="{FF2B5EF4-FFF2-40B4-BE49-F238E27FC236}">
                  <a16:creationId xmlns:a16="http://schemas.microsoft.com/office/drawing/2014/main" id="{DE079AB5-C2C7-4C68-91EA-055CF3721EF4}"/>
                </a:ext>
              </a:extLst>
            </p:cNvPr>
            <p:cNvSpPr>
              <a:spLocks/>
            </p:cNvSpPr>
            <p:nvPr/>
          </p:nvSpPr>
          <p:spPr bwMode="auto">
            <a:xfrm>
              <a:off x="1854200" y="4491038"/>
              <a:ext cx="209550" cy="230188"/>
            </a:xfrm>
            <a:custGeom>
              <a:avLst/>
              <a:gdLst>
                <a:gd name="T0" fmla="*/ 86 w 308"/>
                <a:gd name="T1" fmla="*/ 9 h 337"/>
                <a:gd name="T2" fmla="*/ 86 w 308"/>
                <a:gd name="T3" fmla="*/ 55 h 337"/>
                <a:gd name="T4" fmla="*/ 88 w 308"/>
                <a:gd name="T5" fmla="*/ 55 h 337"/>
                <a:gd name="T6" fmla="*/ 132 w 308"/>
                <a:gd name="T7" fmla="*/ 13 h 337"/>
                <a:gd name="T8" fmla="*/ 188 w 308"/>
                <a:gd name="T9" fmla="*/ 0 h 337"/>
                <a:gd name="T10" fmla="*/ 248 w 308"/>
                <a:gd name="T11" fmla="*/ 10 h 337"/>
                <a:gd name="T12" fmla="*/ 284 w 308"/>
                <a:gd name="T13" fmla="*/ 37 h 337"/>
                <a:gd name="T14" fmla="*/ 303 w 308"/>
                <a:gd name="T15" fmla="*/ 80 h 337"/>
                <a:gd name="T16" fmla="*/ 308 w 308"/>
                <a:gd name="T17" fmla="*/ 135 h 337"/>
                <a:gd name="T18" fmla="*/ 308 w 308"/>
                <a:gd name="T19" fmla="*/ 337 h 337"/>
                <a:gd name="T20" fmla="*/ 218 w 308"/>
                <a:gd name="T21" fmla="*/ 337 h 337"/>
                <a:gd name="T22" fmla="*/ 218 w 308"/>
                <a:gd name="T23" fmla="*/ 152 h 337"/>
                <a:gd name="T24" fmla="*/ 205 w 308"/>
                <a:gd name="T25" fmla="*/ 91 h 337"/>
                <a:gd name="T26" fmla="*/ 160 w 308"/>
                <a:gd name="T27" fmla="*/ 71 h 337"/>
                <a:gd name="T28" fmla="*/ 107 w 308"/>
                <a:gd name="T29" fmla="*/ 93 h 337"/>
                <a:gd name="T30" fmla="*/ 90 w 308"/>
                <a:gd name="T31" fmla="*/ 165 h 337"/>
                <a:gd name="T32" fmla="*/ 90 w 308"/>
                <a:gd name="T33" fmla="*/ 337 h 337"/>
                <a:gd name="T34" fmla="*/ 0 w 308"/>
                <a:gd name="T35" fmla="*/ 337 h 337"/>
                <a:gd name="T36" fmla="*/ 0 w 308"/>
                <a:gd name="T37" fmla="*/ 9 h 337"/>
                <a:gd name="T38" fmla="*/ 86 w 308"/>
                <a:gd name="T39" fmla="*/ 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37">
                  <a:moveTo>
                    <a:pt x="86" y="9"/>
                  </a:moveTo>
                  <a:cubicBezTo>
                    <a:pt x="86" y="55"/>
                    <a:pt x="86" y="55"/>
                    <a:pt x="86" y="55"/>
                  </a:cubicBezTo>
                  <a:cubicBezTo>
                    <a:pt x="88" y="55"/>
                    <a:pt x="88" y="55"/>
                    <a:pt x="88" y="55"/>
                  </a:cubicBezTo>
                  <a:cubicBezTo>
                    <a:pt x="99" y="36"/>
                    <a:pt x="114" y="22"/>
                    <a:pt x="132" y="13"/>
                  </a:cubicBezTo>
                  <a:cubicBezTo>
                    <a:pt x="151" y="4"/>
                    <a:pt x="169" y="0"/>
                    <a:pt x="188" y="0"/>
                  </a:cubicBezTo>
                  <a:cubicBezTo>
                    <a:pt x="212" y="0"/>
                    <a:pt x="232" y="3"/>
                    <a:pt x="248" y="10"/>
                  </a:cubicBezTo>
                  <a:cubicBezTo>
                    <a:pt x="263" y="17"/>
                    <a:pt x="275" y="26"/>
                    <a:pt x="284" y="37"/>
                  </a:cubicBezTo>
                  <a:cubicBezTo>
                    <a:pt x="293" y="49"/>
                    <a:pt x="299" y="63"/>
                    <a:pt x="303" y="80"/>
                  </a:cubicBezTo>
                  <a:cubicBezTo>
                    <a:pt x="306" y="97"/>
                    <a:pt x="308" y="115"/>
                    <a:pt x="308" y="135"/>
                  </a:cubicBezTo>
                  <a:cubicBezTo>
                    <a:pt x="308" y="337"/>
                    <a:pt x="308" y="337"/>
                    <a:pt x="308" y="337"/>
                  </a:cubicBezTo>
                  <a:cubicBezTo>
                    <a:pt x="218" y="337"/>
                    <a:pt x="218" y="337"/>
                    <a:pt x="218" y="337"/>
                  </a:cubicBezTo>
                  <a:cubicBezTo>
                    <a:pt x="218" y="152"/>
                    <a:pt x="218" y="152"/>
                    <a:pt x="218" y="152"/>
                  </a:cubicBezTo>
                  <a:cubicBezTo>
                    <a:pt x="218" y="125"/>
                    <a:pt x="214" y="105"/>
                    <a:pt x="205" y="91"/>
                  </a:cubicBezTo>
                  <a:cubicBezTo>
                    <a:pt x="197" y="78"/>
                    <a:pt x="182" y="71"/>
                    <a:pt x="160" y="71"/>
                  </a:cubicBezTo>
                  <a:cubicBezTo>
                    <a:pt x="136" y="71"/>
                    <a:pt x="118" y="79"/>
                    <a:pt x="107" y="93"/>
                  </a:cubicBezTo>
                  <a:cubicBezTo>
                    <a:pt x="96" y="108"/>
                    <a:pt x="90" y="132"/>
                    <a:pt x="90" y="165"/>
                  </a:cubicBezTo>
                  <a:cubicBezTo>
                    <a:pt x="90" y="337"/>
                    <a:pt x="90" y="337"/>
                    <a:pt x="90" y="337"/>
                  </a:cubicBezTo>
                  <a:cubicBezTo>
                    <a:pt x="0" y="337"/>
                    <a:pt x="0" y="337"/>
                    <a:pt x="0" y="337"/>
                  </a:cubicBezTo>
                  <a:cubicBezTo>
                    <a:pt x="0" y="9"/>
                    <a:pt x="0" y="9"/>
                    <a:pt x="0" y="9"/>
                  </a:cubicBezTo>
                  <a:lnTo>
                    <a:pt x="86" y="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1" name="Freeform 10">
              <a:extLst>
                <a:ext uri="{FF2B5EF4-FFF2-40B4-BE49-F238E27FC236}">
                  <a16:creationId xmlns:a16="http://schemas.microsoft.com/office/drawing/2014/main" id="{13824EBB-9A38-4CE9-99A1-2981DA41A39F}"/>
                </a:ext>
              </a:extLst>
            </p:cNvPr>
            <p:cNvSpPr>
              <a:spLocks noEditPoints="1"/>
            </p:cNvSpPr>
            <p:nvPr/>
          </p:nvSpPr>
          <p:spPr bwMode="auto">
            <a:xfrm>
              <a:off x="2092325" y="4491038"/>
              <a:ext cx="222250" cy="236538"/>
            </a:xfrm>
            <a:custGeom>
              <a:avLst/>
              <a:gdLst>
                <a:gd name="T0" fmla="*/ 112 w 328"/>
                <a:gd name="T1" fmla="*/ 259 h 346"/>
                <a:gd name="T2" fmla="*/ 170 w 328"/>
                <a:gd name="T3" fmla="*/ 278 h 346"/>
                <a:gd name="T4" fmla="*/ 217 w 328"/>
                <a:gd name="T5" fmla="*/ 265 h 346"/>
                <a:gd name="T6" fmla="*/ 241 w 328"/>
                <a:gd name="T7" fmla="*/ 236 h 346"/>
                <a:gd name="T8" fmla="*/ 321 w 328"/>
                <a:gd name="T9" fmla="*/ 236 h 346"/>
                <a:gd name="T10" fmla="*/ 262 w 328"/>
                <a:gd name="T11" fmla="*/ 320 h 346"/>
                <a:gd name="T12" fmla="*/ 167 w 328"/>
                <a:gd name="T13" fmla="*/ 346 h 346"/>
                <a:gd name="T14" fmla="*/ 97 w 328"/>
                <a:gd name="T15" fmla="*/ 333 h 346"/>
                <a:gd name="T16" fmla="*/ 45 w 328"/>
                <a:gd name="T17" fmla="*/ 298 h 346"/>
                <a:gd name="T18" fmla="*/ 11 w 328"/>
                <a:gd name="T19" fmla="*/ 243 h 346"/>
                <a:gd name="T20" fmla="*/ 0 w 328"/>
                <a:gd name="T21" fmla="*/ 173 h 346"/>
                <a:gd name="T22" fmla="*/ 12 w 328"/>
                <a:gd name="T23" fmla="*/ 105 h 346"/>
                <a:gd name="T24" fmla="*/ 46 w 328"/>
                <a:gd name="T25" fmla="*/ 50 h 346"/>
                <a:gd name="T26" fmla="*/ 99 w 328"/>
                <a:gd name="T27" fmla="*/ 13 h 346"/>
                <a:gd name="T28" fmla="*/ 167 w 328"/>
                <a:gd name="T29" fmla="*/ 0 h 346"/>
                <a:gd name="T30" fmla="*/ 240 w 328"/>
                <a:gd name="T31" fmla="*/ 16 h 346"/>
                <a:gd name="T32" fmla="*/ 291 w 328"/>
                <a:gd name="T33" fmla="*/ 60 h 346"/>
                <a:gd name="T34" fmla="*/ 320 w 328"/>
                <a:gd name="T35" fmla="*/ 122 h 346"/>
                <a:gd name="T36" fmla="*/ 327 w 328"/>
                <a:gd name="T37" fmla="*/ 195 h 346"/>
                <a:gd name="T38" fmla="*/ 90 w 328"/>
                <a:gd name="T39" fmla="*/ 195 h 346"/>
                <a:gd name="T40" fmla="*/ 112 w 328"/>
                <a:gd name="T41" fmla="*/ 259 h 346"/>
                <a:gd name="T42" fmla="*/ 214 w 328"/>
                <a:gd name="T43" fmla="*/ 86 h 346"/>
                <a:gd name="T44" fmla="*/ 165 w 328"/>
                <a:gd name="T45" fmla="*/ 68 h 346"/>
                <a:gd name="T46" fmla="*/ 129 w 328"/>
                <a:gd name="T47" fmla="*/ 75 h 346"/>
                <a:gd name="T48" fmla="*/ 106 w 328"/>
                <a:gd name="T49" fmla="*/ 93 h 346"/>
                <a:gd name="T50" fmla="*/ 94 w 328"/>
                <a:gd name="T51" fmla="*/ 116 h 346"/>
                <a:gd name="T52" fmla="*/ 90 w 328"/>
                <a:gd name="T53" fmla="*/ 138 h 346"/>
                <a:gd name="T54" fmla="*/ 236 w 328"/>
                <a:gd name="T55" fmla="*/ 138 h 346"/>
                <a:gd name="T56" fmla="*/ 214 w 328"/>
                <a:gd name="T57" fmla="*/ 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8" h="346">
                  <a:moveTo>
                    <a:pt x="112" y="259"/>
                  </a:moveTo>
                  <a:cubicBezTo>
                    <a:pt x="126" y="272"/>
                    <a:pt x="145" y="278"/>
                    <a:pt x="170" y="278"/>
                  </a:cubicBezTo>
                  <a:cubicBezTo>
                    <a:pt x="189" y="278"/>
                    <a:pt x="204" y="274"/>
                    <a:pt x="217" y="265"/>
                  </a:cubicBezTo>
                  <a:cubicBezTo>
                    <a:pt x="230" y="255"/>
                    <a:pt x="239" y="246"/>
                    <a:pt x="241" y="236"/>
                  </a:cubicBezTo>
                  <a:cubicBezTo>
                    <a:pt x="321" y="236"/>
                    <a:pt x="321" y="236"/>
                    <a:pt x="321" y="236"/>
                  </a:cubicBezTo>
                  <a:cubicBezTo>
                    <a:pt x="308" y="275"/>
                    <a:pt x="289" y="303"/>
                    <a:pt x="262" y="320"/>
                  </a:cubicBezTo>
                  <a:cubicBezTo>
                    <a:pt x="236" y="337"/>
                    <a:pt x="204" y="346"/>
                    <a:pt x="167" y="346"/>
                  </a:cubicBezTo>
                  <a:cubicBezTo>
                    <a:pt x="141" y="346"/>
                    <a:pt x="118" y="341"/>
                    <a:pt x="97" y="333"/>
                  </a:cubicBezTo>
                  <a:cubicBezTo>
                    <a:pt x="77" y="325"/>
                    <a:pt x="59" y="313"/>
                    <a:pt x="45" y="298"/>
                  </a:cubicBezTo>
                  <a:cubicBezTo>
                    <a:pt x="30" y="283"/>
                    <a:pt x="19" y="264"/>
                    <a:pt x="11" y="243"/>
                  </a:cubicBezTo>
                  <a:cubicBezTo>
                    <a:pt x="3" y="222"/>
                    <a:pt x="0" y="199"/>
                    <a:pt x="0" y="173"/>
                  </a:cubicBezTo>
                  <a:cubicBezTo>
                    <a:pt x="0" y="149"/>
                    <a:pt x="4" y="126"/>
                    <a:pt x="12" y="105"/>
                  </a:cubicBezTo>
                  <a:cubicBezTo>
                    <a:pt x="20" y="84"/>
                    <a:pt x="31" y="65"/>
                    <a:pt x="46" y="50"/>
                  </a:cubicBezTo>
                  <a:cubicBezTo>
                    <a:pt x="61" y="35"/>
                    <a:pt x="78" y="22"/>
                    <a:pt x="99" y="13"/>
                  </a:cubicBezTo>
                  <a:cubicBezTo>
                    <a:pt x="119" y="5"/>
                    <a:pt x="142" y="0"/>
                    <a:pt x="167" y="0"/>
                  </a:cubicBezTo>
                  <a:cubicBezTo>
                    <a:pt x="195" y="0"/>
                    <a:pt x="219" y="6"/>
                    <a:pt x="240" y="16"/>
                  </a:cubicBezTo>
                  <a:cubicBezTo>
                    <a:pt x="261" y="27"/>
                    <a:pt x="278" y="42"/>
                    <a:pt x="291" y="60"/>
                  </a:cubicBezTo>
                  <a:cubicBezTo>
                    <a:pt x="305" y="78"/>
                    <a:pt x="314" y="99"/>
                    <a:pt x="320" y="122"/>
                  </a:cubicBezTo>
                  <a:cubicBezTo>
                    <a:pt x="326" y="145"/>
                    <a:pt x="328" y="170"/>
                    <a:pt x="327" y="195"/>
                  </a:cubicBezTo>
                  <a:cubicBezTo>
                    <a:pt x="90" y="195"/>
                    <a:pt x="90" y="195"/>
                    <a:pt x="90" y="195"/>
                  </a:cubicBezTo>
                  <a:cubicBezTo>
                    <a:pt x="91" y="224"/>
                    <a:pt x="98" y="245"/>
                    <a:pt x="112" y="259"/>
                  </a:cubicBezTo>
                  <a:close/>
                  <a:moveTo>
                    <a:pt x="214" y="86"/>
                  </a:moveTo>
                  <a:cubicBezTo>
                    <a:pt x="203" y="74"/>
                    <a:pt x="187" y="68"/>
                    <a:pt x="165" y="68"/>
                  </a:cubicBezTo>
                  <a:cubicBezTo>
                    <a:pt x="150" y="68"/>
                    <a:pt x="138" y="71"/>
                    <a:pt x="129" y="75"/>
                  </a:cubicBezTo>
                  <a:cubicBezTo>
                    <a:pt x="119" y="80"/>
                    <a:pt x="112" y="86"/>
                    <a:pt x="106" y="93"/>
                  </a:cubicBezTo>
                  <a:cubicBezTo>
                    <a:pt x="100" y="101"/>
                    <a:pt x="96" y="108"/>
                    <a:pt x="94" y="116"/>
                  </a:cubicBezTo>
                  <a:cubicBezTo>
                    <a:pt x="92" y="124"/>
                    <a:pt x="90" y="132"/>
                    <a:pt x="90" y="138"/>
                  </a:cubicBezTo>
                  <a:cubicBezTo>
                    <a:pt x="236" y="138"/>
                    <a:pt x="236" y="138"/>
                    <a:pt x="236" y="138"/>
                  </a:cubicBezTo>
                  <a:cubicBezTo>
                    <a:pt x="232" y="115"/>
                    <a:pt x="225" y="98"/>
                    <a:pt x="214" y="8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2" name="Freeform 11">
              <a:extLst>
                <a:ext uri="{FF2B5EF4-FFF2-40B4-BE49-F238E27FC236}">
                  <a16:creationId xmlns:a16="http://schemas.microsoft.com/office/drawing/2014/main" id="{E1FB89B6-10AC-42EB-B7F3-14C6F4A6879F}"/>
                </a:ext>
              </a:extLst>
            </p:cNvPr>
            <p:cNvSpPr>
              <a:spLocks/>
            </p:cNvSpPr>
            <p:nvPr/>
          </p:nvSpPr>
          <p:spPr bwMode="auto">
            <a:xfrm>
              <a:off x="2330450" y="4491038"/>
              <a:ext cx="206375" cy="236538"/>
            </a:xfrm>
            <a:custGeom>
              <a:avLst/>
              <a:gdLst>
                <a:gd name="T0" fmla="*/ 92 w 304"/>
                <a:gd name="T1" fmla="*/ 256 h 346"/>
                <a:gd name="T2" fmla="*/ 107 w 304"/>
                <a:gd name="T3" fmla="*/ 273 h 346"/>
                <a:gd name="T4" fmla="*/ 129 w 304"/>
                <a:gd name="T5" fmla="*/ 283 h 346"/>
                <a:gd name="T6" fmla="*/ 155 w 304"/>
                <a:gd name="T7" fmla="*/ 286 h 346"/>
                <a:gd name="T8" fmla="*/ 175 w 304"/>
                <a:gd name="T9" fmla="*/ 284 h 346"/>
                <a:gd name="T10" fmla="*/ 194 w 304"/>
                <a:gd name="T11" fmla="*/ 277 h 346"/>
                <a:gd name="T12" fmla="*/ 208 w 304"/>
                <a:gd name="T13" fmla="*/ 264 h 346"/>
                <a:gd name="T14" fmla="*/ 214 w 304"/>
                <a:gd name="T15" fmla="*/ 244 h 346"/>
                <a:gd name="T16" fmla="*/ 187 w 304"/>
                <a:gd name="T17" fmla="*/ 213 h 346"/>
                <a:gd name="T18" fmla="*/ 112 w 304"/>
                <a:gd name="T19" fmla="*/ 193 h 346"/>
                <a:gd name="T20" fmla="*/ 73 w 304"/>
                <a:gd name="T21" fmla="*/ 183 h 346"/>
                <a:gd name="T22" fmla="*/ 40 w 304"/>
                <a:gd name="T23" fmla="*/ 167 h 346"/>
                <a:gd name="T24" fmla="*/ 16 w 304"/>
                <a:gd name="T25" fmla="*/ 142 h 346"/>
                <a:gd name="T26" fmla="*/ 8 w 304"/>
                <a:gd name="T27" fmla="*/ 106 h 346"/>
                <a:gd name="T28" fmla="*/ 20 w 304"/>
                <a:gd name="T29" fmla="*/ 53 h 346"/>
                <a:gd name="T30" fmla="*/ 53 w 304"/>
                <a:gd name="T31" fmla="*/ 21 h 346"/>
                <a:gd name="T32" fmla="*/ 98 w 304"/>
                <a:gd name="T33" fmla="*/ 5 h 346"/>
                <a:gd name="T34" fmla="*/ 150 w 304"/>
                <a:gd name="T35" fmla="*/ 0 h 346"/>
                <a:gd name="T36" fmla="*/ 202 w 304"/>
                <a:gd name="T37" fmla="*/ 5 h 346"/>
                <a:gd name="T38" fmla="*/ 247 w 304"/>
                <a:gd name="T39" fmla="*/ 22 h 346"/>
                <a:gd name="T40" fmla="*/ 280 w 304"/>
                <a:gd name="T41" fmla="*/ 54 h 346"/>
                <a:gd name="T42" fmla="*/ 295 w 304"/>
                <a:gd name="T43" fmla="*/ 105 h 346"/>
                <a:gd name="T44" fmla="*/ 210 w 304"/>
                <a:gd name="T45" fmla="*/ 105 h 346"/>
                <a:gd name="T46" fmla="*/ 190 w 304"/>
                <a:gd name="T47" fmla="*/ 70 h 346"/>
                <a:gd name="T48" fmla="*/ 148 w 304"/>
                <a:gd name="T49" fmla="*/ 60 h 346"/>
                <a:gd name="T50" fmla="*/ 131 w 304"/>
                <a:gd name="T51" fmla="*/ 61 h 346"/>
                <a:gd name="T52" fmla="*/ 115 w 304"/>
                <a:gd name="T53" fmla="*/ 66 h 346"/>
                <a:gd name="T54" fmla="*/ 103 w 304"/>
                <a:gd name="T55" fmla="*/ 75 h 346"/>
                <a:gd name="T56" fmla="*/ 98 w 304"/>
                <a:gd name="T57" fmla="*/ 91 h 346"/>
                <a:gd name="T58" fmla="*/ 107 w 304"/>
                <a:gd name="T59" fmla="*/ 111 h 346"/>
                <a:gd name="T60" fmla="*/ 130 w 304"/>
                <a:gd name="T61" fmla="*/ 123 h 346"/>
                <a:gd name="T62" fmla="*/ 163 w 304"/>
                <a:gd name="T63" fmla="*/ 132 h 346"/>
                <a:gd name="T64" fmla="*/ 200 w 304"/>
                <a:gd name="T65" fmla="*/ 140 h 346"/>
                <a:gd name="T66" fmla="*/ 238 w 304"/>
                <a:gd name="T67" fmla="*/ 151 h 346"/>
                <a:gd name="T68" fmla="*/ 272 w 304"/>
                <a:gd name="T69" fmla="*/ 167 h 346"/>
                <a:gd name="T70" fmla="*/ 295 w 304"/>
                <a:gd name="T71" fmla="*/ 193 h 346"/>
                <a:gd name="T72" fmla="*/ 304 w 304"/>
                <a:gd name="T73" fmla="*/ 232 h 346"/>
                <a:gd name="T74" fmla="*/ 291 w 304"/>
                <a:gd name="T75" fmla="*/ 286 h 346"/>
                <a:gd name="T76" fmla="*/ 257 w 304"/>
                <a:gd name="T77" fmla="*/ 321 h 346"/>
                <a:gd name="T78" fmla="*/ 209 w 304"/>
                <a:gd name="T79" fmla="*/ 340 h 346"/>
                <a:gd name="T80" fmla="*/ 154 w 304"/>
                <a:gd name="T81" fmla="*/ 346 h 346"/>
                <a:gd name="T82" fmla="*/ 98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7" y="273"/>
                  </a:cubicBezTo>
                  <a:cubicBezTo>
                    <a:pt x="114" y="277"/>
                    <a:pt x="121" y="281"/>
                    <a:pt x="129" y="283"/>
                  </a:cubicBezTo>
                  <a:cubicBezTo>
                    <a:pt x="137" y="285"/>
                    <a:pt x="146" y="286"/>
                    <a:pt x="155" y="286"/>
                  </a:cubicBezTo>
                  <a:cubicBezTo>
                    <a:pt x="161" y="286"/>
                    <a:pt x="168" y="285"/>
                    <a:pt x="175" y="284"/>
                  </a:cubicBezTo>
                  <a:cubicBezTo>
                    <a:pt x="182" y="282"/>
                    <a:pt x="188" y="280"/>
                    <a:pt x="194" y="277"/>
                  </a:cubicBezTo>
                  <a:cubicBezTo>
                    <a:pt x="200" y="273"/>
                    <a:pt x="204" y="269"/>
                    <a:pt x="208" y="264"/>
                  </a:cubicBezTo>
                  <a:cubicBezTo>
                    <a:pt x="212" y="259"/>
                    <a:pt x="214" y="252"/>
                    <a:pt x="214" y="244"/>
                  </a:cubicBezTo>
                  <a:cubicBezTo>
                    <a:pt x="214" y="230"/>
                    <a:pt x="205" y="220"/>
                    <a:pt x="187" y="213"/>
                  </a:cubicBezTo>
                  <a:cubicBezTo>
                    <a:pt x="169" y="207"/>
                    <a:pt x="144" y="200"/>
                    <a:pt x="112" y="193"/>
                  </a:cubicBezTo>
                  <a:cubicBezTo>
                    <a:pt x="99" y="190"/>
                    <a:pt x="86" y="187"/>
                    <a:pt x="73" y="183"/>
                  </a:cubicBezTo>
                  <a:cubicBezTo>
                    <a:pt x="61" y="179"/>
                    <a:pt x="50" y="173"/>
                    <a:pt x="40" y="167"/>
                  </a:cubicBezTo>
                  <a:cubicBezTo>
                    <a:pt x="30" y="160"/>
                    <a:pt x="22" y="152"/>
                    <a:pt x="16" y="142"/>
                  </a:cubicBezTo>
                  <a:cubicBezTo>
                    <a:pt x="11" y="132"/>
                    <a:pt x="8" y="120"/>
                    <a:pt x="8" y="106"/>
                  </a:cubicBezTo>
                  <a:cubicBezTo>
                    <a:pt x="8" y="84"/>
                    <a:pt x="12" y="67"/>
                    <a:pt x="20" y="53"/>
                  </a:cubicBezTo>
                  <a:cubicBezTo>
                    <a:pt x="28" y="40"/>
                    <a:pt x="39" y="29"/>
                    <a:pt x="53" y="21"/>
                  </a:cubicBezTo>
                  <a:cubicBezTo>
                    <a:pt x="66" y="14"/>
                    <a:pt x="81" y="8"/>
                    <a:pt x="98" y="5"/>
                  </a:cubicBezTo>
                  <a:cubicBezTo>
                    <a:pt x="115" y="2"/>
                    <a:pt x="133" y="0"/>
                    <a:pt x="150" y="0"/>
                  </a:cubicBezTo>
                  <a:cubicBezTo>
                    <a:pt x="168" y="0"/>
                    <a:pt x="185" y="2"/>
                    <a:pt x="202" y="5"/>
                  </a:cubicBezTo>
                  <a:cubicBezTo>
                    <a:pt x="219" y="9"/>
                    <a:pt x="234" y="14"/>
                    <a:pt x="247" y="22"/>
                  </a:cubicBezTo>
                  <a:cubicBezTo>
                    <a:pt x="260" y="30"/>
                    <a:pt x="271" y="41"/>
                    <a:pt x="280" y="54"/>
                  </a:cubicBezTo>
                  <a:cubicBezTo>
                    <a:pt x="288" y="68"/>
                    <a:pt x="294" y="85"/>
                    <a:pt x="295" y="105"/>
                  </a:cubicBezTo>
                  <a:cubicBezTo>
                    <a:pt x="210" y="105"/>
                    <a:pt x="210" y="105"/>
                    <a:pt x="210" y="105"/>
                  </a:cubicBezTo>
                  <a:cubicBezTo>
                    <a:pt x="208" y="88"/>
                    <a:pt x="202" y="76"/>
                    <a:pt x="190" y="70"/>
                  </a:cubicBezTo>
                  <a:cubicBezTo>
                    <a:pt x="178" y="64"/>
                    <a:pt x="164" y="60"/>
                    <a:pt x="148" y="60"/>
                  </a:cubicBezTo>
                  <a:cubicBezTo>
                    <a:pt x="143" y="60"/>
                    <a:pt x="137" y="61"/>
                    <a:pt x="131" y="61"/>
                  </a:cubicBezTo>
                  <a:cubicBezTo>
                    <a:pt x="125" y="62"/>
                    <a:pt x="120" y="63"/>
                    <a:pt x="115" y="66"/>
                  </a:cubicBezTo>
                  <a:cubicBezTo>
                    <a:pt x="110" y="68"/>
                    <a:pt x="106" y="71"/>
                    <a:pt x="103" y="75"/>
                  </a:cubicBezTo>
                  <a:cubicBezTo>
                    <a:pt x="99" y="79"/>
                    <a:pt x="98" y="84"/>
                    <a:pt x="98" y="91"/>
                  </a:cubicBezTo>
                  <a:cubicBezTo>
                    <a:pt x="98" y="99"/>
                    <a:pt x="101" y="106"/>
                    <a:pt x="107" y="111"/>
                  </a:cubicBezTo>
                  <a:cubicBezTo>
                    <a:pt x="113" y="116"/>
                    <a:pt x="120" y="120"/>
                    <a:pt x="130" y="123"/>
                  </a:cubicBezTo>
                  <a:cubicBezTo>
                    <a:pt x="139" y="126"/>
                    <a:pt x="150" y="129"/>
                    <a:pt x="163" y="132"/>
                  </a:cubicBezTo>
                  <a:cubicBezTo>
                    <a:pt x="175" y="134"/>
                    <a:pt x="187" y="137"/>
                    <a:pt x="200" y="140"/>
                  </a:cubicBezTo>
                  <a:cubicBezTo>
                    <a:pt x="213" y="143"/>
                    <a:pt x="226" y="146"/>
                    <a:pt x="238" y="151"/>
                  </a:cubicBezTo>
                  <a:cubicBezTo>
                    <a:pt x="251" y="155"/>
                    <a:pt x="262" y="160"/>
                    <a:pt x="272" y="167"/>
                  </a:cubicBezTo>
                  <a:cubicBezTo>
                    <a:pt x="281" y="174"/>
                    <a:pt x="289" y="183"/>
                    <a:pt x="295" y="193"/>
                  </a:cubicBezTo>
                  <a:cubicBezTo>
                    <a:pt x="301" y="204"/>
                    <a:pt x="304" y="217"/>
                    <a:pt x="304" y="232"/>
                  </a:cubicBezTo>
                  <a:cubicBezTo>
                    <a:pt x="304" y="253"/>
                    <a:pt x="300" y="272"/>
                    <a:pt x="291" y="286"/>
                  </a:cubicBezTo>
                  <a:cubicBezTo>
                    <a:pt x="282" y="301"/>
                    <a:pt x="271" y="313"/>
                    <a:pt x="257" y="321"/>
                  </a:cubicBezTo>
                  <a:cubicBezTo>
                    <a:pt x="243" y="330"/>
                    <a:pt x="227" y="337"/>
                    <a:pt x="209" y="340"/>
                  </a:cubicBezTo>
                  <a:cubicBezTo>
                    <a:pt x="191" y="344"/>
                    <a:pt x="173" y="346"/>
                    <a:pt x="154" y="346"/>
                  </a:cubicBezTo>
                  <a:cubicBezTo>
                    <a:pt x="135" y="346"/>
                    <a:pt x="117" y="344"/>
                    <a:pt x="98"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3" name="Freeform 12">
              <a:extLst>
                <a:ext uri="{FF2B5EF4-FFF2-40B4-BE49-F238E27FC236}">
                  <a16:creationId xmlns:a16="http://schemas.microsoft.com/office/drawing/2014/main" id="{3E6B9B1D-1721-49CD-9807-AB8E27D7AA9B}"/>
                </a:ext>
              </a:extLst>
            </p:cNvPr>
            <p:cNvSpPr>
              <a:spLocks/>
            </p:cNvSpPr>
            <p:nvPr/>
          </p:nvSpPr>
          <p:spPr bwMode="auto">
            <a:xfrm>
              <a:off x="2555875" y="4491038"/>
              <a:ext cx="206375" cy="236538"/>
            </a:xfrm>
            <a:custGeom>
              <a:avLst/>
              <a:gdLst>
                <a:gd name="T0" fmla="*/ 92 w 304"/>
                <a:gd name="T1" fmla="*/ 256 h 346"/>
                <a:gd name="T2" fmla="*/ 107 w 304"/>
                <a:gd name="T3" fmla="*/ 273 h 346"/>
                <a:gd name="T4" fmla="*/ 129 w 304"/>
                <a:gd name="T5" fmla="*/ 283 h 346"/>
                <a:gd name="T6" fmla="*/ 155 w 304"/>
                <a:gd name="T7" fmla="*/ 286 h 346"/>
                <a:gd name="T8" fmla="*/ 175 w 304"/>
                <a:gd name="T9" fmla="*/ 284 h 346"/>
                <a:gd name="T10" fmla="*/ 194 w 304"/>
                <a:gd name="T11" fmla="*/ 277 h 346"/>
                <a:gd name="T12" fmla="*/ 208 w 304"/>
                <a:gd name="T13" fmla="*/ 264 h 346"/>
                <a:gd name="T14" fmla="*/ 214 w 304"/>
                <a:gd name="T15" fmla="*/ 244 h 346"/>
                <a:gd name="T16" fmla="*/ 187 w 304"/>
                <a:gd name="T17" fmla="*/ 213 h 346"/>
                <a:gd name="T18" fmla="*/ 112 w 304"/>
                <a:gd name="T19" fmla="*/ 193 h 346"/>
                <a:gd name="T20" fmla="*/ 73 w 304"/>
                <a:gd name="T21" fmla="*/ 183 h 346"/>
                <a:gd name="T22" fmla="*/ 40 w 304"/>
                <a:gd name="T23" fmla="*/ 167 h 346"/>
                <a:gd name="T24" fmla="*/ 16 w 304"/>
                <a:gd name="T25" fmla="*/ 142 h 346"/>
                <a:gd name="T26" fmla="*/ 8 w 304"/>
                <a:gd name="T27" fmla="*/ 106 h 346"/>
                <a:gd name="T28" fmla="*/ 20 w 304"/>
                <a:gd name="T29" fmla="*/ 53 h 346"/>
                <a:gd name="T30" fmla="*/ 53 w 304"/>
                <a:gd name="T31" fmla="*/ 21 h 346"/>
                <a:gd name="T32" fmla="*/ 98 w 304"/>
                <a:gd name="T33" fmla="*/ 5 h 346"/>
                <a:gd name="T34" fmla="*/ 150 w 304"/>
                <a:gd name="T35" fmla="*/ 0 h 346"/>
                <a:gd name="T36" fmla="*/ 202 w 304"/>
                <a:gd name="T37" fmla="*/ 5 h 346"/>
                <a:gd name="T38" fmla="*/ 247 w 304"/>
                <a:gd name="T39" fmla="*/ 22 h 346"/>
                <a:gd name="T40" fmla="*/ 280 w 304"/>
                <a:gd name="T41" fmla="*/ 54 h 346"/>
                <a:gd name="T42" fmla="*/ 295 w 304"/>
                <a:gd name="T43" fmla="*/ 105 h 346"/>
                <a:gd name="T44" fmla="*/ 209 w 304"/>
                <a:gd name="T45" fmla="*/ 105 h 346"/>
                <a:gd name="T46" fmla="*/ 190 w 304"/>
                <a:gd name="T47" fmla="*/ 70 h 346"/>
                <a:gd name="T48" fmla="*/ 148 w 304"/>
                <a:gd name="T49" fmla="*/ 60 h 346"/>
                <a:gd name="T50" fmla="*/ 131 w 304"/>
                <a:gd name="T51" fmla="*/ 61 h 346"/>
                <a:gd name="T52" fmla="*/ 115 w 304"/>
                <a:gd name="T53" fmla="*/ 66 h 346"/>
                <a:gd name="T54" fmla="*/ 103 w 304"/>
                <a:gd name="T55" fmla="*/ 75 h 346"/>
                <a:gd name="T56" fmla="*/ 98 w 304"/>
                <a:gd name="T57" fmla="*/ 91 h 346"/>
                <a:gd name="T58" fmla="*/ 107 w 304"/>
                <a:gd name="T59" fmla="*/ 111 h 346"/>
                <a:gd name="T60" fmla="*/ 130 w 304"/>
                <a:gd name="T61" fmla="*/ 123 h 346"/>
                <a:gd name="T62" fmla="*/ 162 w 304"/>
                <a:gd name="T63" fmla="*/ 132 h 346"/>
                <a:gd name="T64" fmla="*/ 200 w 304"/>
                <a:gd name="T65" fmla="*/ 140 h 346"/>
                <a:gd name="T66" fmla="*/ 238 w 304"/>
                <a:gd name="T67" fmla="*/ 151 h 346"/>
                <a:gd name="T68" fmla="*/ 272 w 304"/>
                <a:gd name="T69" fmla="*/ 167 h 346"/>
                <a:gd name="T70" fmla="*/ 295 w 304"/>
                <a:gd name="T71" fmla="*/ 193 h 346"/>
                <a:gd name="T72" fmla="*/ 304 w 304"/>
                <a:gd name="T73" fmla="*/ 232 h 346"/>
                <a:gd name="T74" fmla="*/ 291 w 304"/>
                <a:gd name="T75" fmla="*/ 286 h 346"/>
                <a:gd name="T76" fmla="*/ 257 w 304"/>
                <a:gd name="T77" fmla="*/ 321 h 346"/>
                <a:gd name="T78" fmla="*/ 209 w 304"/>
                <a:gd name="T79" fmla="*/ 340 h 346"/>
                <a:gd name="T80" fmla="*/ 154 w 304"/>
                <a:gd name="T81" fmla="*/ 346 h 346"/>
                <a:gd name="T82" fmla="*/ 98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7" y="273"/>
                  </a:cubicBezTo>
                  <a:cubicBezTo>
                    <a:pt x="114" y="277"/>
                    <a:pt x="121" y="281"/>
                    <a:pt x="129" y="283"/>
                  </a:cubicBezTo>
                  <a:cubicBezTo>
                    <a:pt x="137" y="285"/>
                    <a:pt x="146" y="286"/>
                    <a:pt x="155" y="286"/>
                  </a:cubicBezTo>
                  <a:cubicBezTo>
                    <a:pt x="161" y="286"/>
                    <a:pt x="168" y="285"/>
                    <a:pt x="175" y="284"/>
                  </a:cubicBezTo>
                  <a:cubicBezTo>
                    <a:pt x="182" y="282"/>
                    <a:pt x="188" y="280"/>
                    <a:pt x="194" y="277"/>
                  </a:cubicBezTo>
                  <a:cubicBezTo>
                    <a:pt x="200" y="273"/>
                    <a:pt x="204" y="269"/>
                    <a:pt x="208" y="264"/>
                  </a:cubicBezTo>
                  <a:cubicBezTo>
                    <a:pt x="212" y="259"/>
                    <a:pt x="214" y="252"/>
                    <a:pt x="214" y="244"/>
                  </a:cubicBezTo>
                  <a:cubicBezTo>
                    <a:pt x="214" y="230"/>
                    <a:pt x="205" y="220"/>
                    <a:pt x="187" y="213"/>
                  </a:cubicBezTo>
                  <a:cubicBezTo>
                    <a:pt x="169" y="207"/>
                    <a:pt x="144" y="200"/>
                    <a:pt x="112" y="193"/>
                  </a:cubicBezTo>
                  <a:cubicBezTo>
                    <a:pt x="99" y="190"/>
                    <a:pt x="86" y="187"/>
                    <a:pt x="73" y="183"/>
                  </a:cubicBezTo>
                  <a:cubicBezTo>
                    <a:pt x="61" y="179"/>
                    <a:pt x="50" y="173"/>
                    <a:pt x="40" y="167"/>
                  </a:cubicBezTo>
                  <a:cubicBezTo>
                    <a:pt x="30" y="160"/>
                    <a:pt x="22" y="152"/>
                    <a:pt x="16" y="142"/>
                  </a:cubicBezTo>
                  <a:cubicBezTo>
                    <a:pt x="11" y="132"/>
                    <a:pt x="8" y="120"/>
                    <a:pt x="8" y="106"/>
                  </a:cubicBezTo>
                  <a:cubicBezTo>
                    <a:pt x="8" y="84"/>
                    <a:pt x="12" y="67"/>
                    <a:pt x="20" y="53"/>
                  </a:cubicBezTo>
                  <a:cubicBezTo>
                    <a:pt x="28" y="40"/>
                    <a:pt x="39" y="29"/>
                    <a:pt x="53" y="21"/>
                  </a:cubicBezTo>
                  <a:cubicBezTo>
                    <a:pt x="66" y="14"/>
                    <a:pt x="81" y="8"/>
                    <a:pt x="98" y="5"/>
                  </a:cubicBezTo>
                  <a:cubicBezTo>
                    <a:pt x="115" y="2"/>
                    <a:pt x="133" y="0"/>
                    <a:pt x="150" y="0"/>
                  </a:cubicBezTo>
                  <a:cubicBezTo>
                    <a:pt x="168" y="0"/>
                    <a:pt x="185" y="2"/>
                    <a:pt x="202" y="5"/>
                  </a:cubicBezTo>
                  <a:cubicBezTo>
                    <a:pt x="219" y="9"/>
                    <a:pt x="234" y="14"/>
                    <a:pt x="247" y="22"/>
                  </a:cubicBezTo>
                  <a:cubicBezTo>
                    <a:pt x="260" y="30"/>
                    <a:pt x="271" y="41"/>
                    <a:pt x="280" y="54"/>
                  </a:cubicBezTo>
                  <a:cubicBezTo>
                    <a:pt x="288" y="68"/>
                    <a:pt x="294" y="85"/>
                    <a:pt x="295" y="105"/>
                  </a:cubicBezTo>
                  <a:cubicBezTo>
                    <a:pt x="209" y="105"/>
                    <a:pt x="209" y="105"/>
                    <a:pt x="209" y="105"/>
                  </a:cubicBezTo>
                  <a:cubicBezTo>
                    <a:pt x="208" y="88"/>
                    <a:pt x="202" y="76"/>
                    <a:pt x="190" y="70"/>
                  </a:cubicBezTo>
                  <a:cubicBezTo>
                    <a:pt x="178" y="64"/>
                    <a:pt x="164" y="60"/>
                    <a:pt x="148" y="60"/>
                  </a:cubicBezTo>
                  <a:cubicBezTo>
                    <a:pt x="143" y="60"/>
                    <a:pt x="137" y="61"/>
                    <a:pt x="131" y="61"/>
                  </a:cubicBezTo>
                  <a:cubicBezTo>
                    <a:pt x="125" y="62"/>
                    <a:pt x="120" y="63"/>
                    <a:pt x="115" y="66"/>
                  </a:cubicBezTo>
                  <a:cubicBezTo>
                    <a:pt x="110" y="68"/>
                    <a:pt x="106" y="71"/>
                    <a:pt x="103" y="75"/>
                  </a:cubicBezTo>
                  <a:cubicBezTo>
                    <a:pt x="99" y="79"/>
                    <a:pt x="98" y="84"/>
                    <a:pt x="98" y="91"/>
                  </a:cubicBezTo>
                  <a:cubicBezTo>
                    <a:pt x="98" y="99"/>
                    <a:pt x="101" y="106"/>
                    <a:pt x="107" y="111"/>
                  </a:cubicBezTo>
                  <a:cubicBezTo>
                    <a:pt x="113" y="116"/>
                    <a:pt x="120" y="120"/>
                    <a:pt x="130" y="123"/>
                  </a:cubicBezTo>
                  <a:cubicBezTo>
                    <a:pt x="139" y="126"/>
                    <a:pt x="150" y="129"/>
                    <a:pt x="162" y="132"/>
                  </a:cubicBezTo>
                  <a:cubicBezTo>
                    <a:pt x="175" y="134"/>
                    <a:pt x="187" y="137"/>
                    <a:pt x="200" y="140"/>
                  </a:cubicBezTo>
                  <a:cubicBezTo>
                    <a:pt x="213" y="143"/>
                    <a:pt x="226" y="146"/>
                    <a:pt x="238" y="151"/>
                  </a:cubicBezTo>
                  <a:cubicBezTo>
                    <a:pt x="251" y="155"/>
                    <a:pt x="262" y="160"/>
                    <a:pt x="272" y="167"/>
                  </a:cubicBezTo>
                  <a:cubicBezTo>
                    <a:pt x="281" y="174"/>
                    <a:pt x="289" y="183"/>
                    <a:pt x="295" y="193"/>
                  </a:cubicBezTo>
                  <a:cubicBezTo>
                    <a:pt x="301" y="204"/>
                    <a:pt x="304" y="217"/>
                    <a:pt x="304" y="232"/>
                  </a:cubicBezTo>
                  <a:cubicBezTo>
                    <a:pt x="304" y="253"/>
                    <a:pt x="300" y="272"/>
                    <a:pt x="291" y="286"/>
                  </a:cubicBezTo>
                  <a:cubicBezTo>
                    <a:pt x="282" y="301"/>
                    <a:pt x="271" y="313"/>
                    <a:pt x="257" y="321"/>
                  </a:cubicBezTo>
                  <a:cubicBezTo>
                    <a:pt x="243" y="330"/>
                    <a:pt x="227" y="337"/>
                    <a:pt x="209" y="340"/>
                  </a:cubicBezTo>
                  <a:cubicBezTo>
                    <a:pt x="191" y="344"/>
                    <a:pt x="173" y="346"/>
                    <a:pt x="154" y="346"/>
                  </a:cubicBezTo>
                  <a:cubicBezTo>
                    <a:pt x="135" y="346"/>
                    <a:pt x="117" y="344"/>
                    <a:pt x="98"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4" name="Rectangle 13">
              <a:extLst>
                <a:ext uri="{FF2B5EF4-FFF2-40B4-BE49-F238E27FC236}">
                  <a16:creationId xmlns:a16="http://schemas.microsoft.com/office/drawing/2014/main" id="{3BF6698F-25C6-4D98-8BD0-8EE77A647FF2}"/>
                </a:ext>
              </a:extLst>
            </p:cNvPr>
            <p:cNvSpPr>
              <a:spLocks noChangeArrowheads="1"/>
            </p:cNvSpPr>
            <p:nvPr/>
          </p:nvSpPr>
          <p:spPr bwMode="auto">
            <a:xfrm>
              <a:off x="314325" y="4310063"/>
              <a:ext cx="514350" cy="514350"/>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5" name="Freeform 14">
              <a:extLst>
                <a:ext uri="{FF2B5EF4-FFF2-40B4-BE49-F238E27FC236}">
                  <a16:creationId xmlns:a16="http://schemas.microsoft.com/office/drawing/2014/main" id="{56E33B80-270E-429D-8746-588F411AF64A}"/>
                </a:ext>
              </a:extLst>
            </p:cNvPr>
            <p:cNvSpPr>
              <a:spLocks noEditPoints="1"/>
            </p:cNvSpPr>
            <p:nvPr/>
          </p:nvSpPr>
          <p:spPr bwMode="auto">
            <a:xfrm>
              <a:off x="471488" y="4706938"/>
              <a:ext cx="63500" cy="74613"/>
            </a:xfrm>
            <a:custGeom>
              <a:avLst/>
              <a:gdLst>
                <a:gd name="T0" fmla="*/ 66 w 93"/>
                <a:gd name="T1" fmla="*/ 98 h 109"/>
                <a:gd name="T2" fmla="*/ 31 w 93"/>
                <a:gd name="T3" fmla="*/ 109 h 109"/>
                <a:gd name="T4" fmla="*/ 0 w 93"/>
                <a:gd name="T5" fmla="*/ 78 h 109"/>
                <a:gd name="T6" fmla="*/ 66 w 93"/>
                <a:gd name="T7" fmla="*/ 37 h 109"/>
                <a:gd name="T8" fmla="*/ 66 w 93"/>
                <a:gd name="T9" fmla="*/ 31 h 109"/>
                <a:gd name="T10" fmla="*/ 50 w 93"/>
                <a:gd name="T11" fmla="*/ 19 h 109"/>
                <a:gd name="T12" fmla="*/ 24 w 93"/>
                <a:gd name="T13" fmla="*/ 31 h 109"/>
                <a:gd name="T14" fmla="*/ 5 w 93"/>
                <a:gd name="T15" fmla="*/ 21 h 109"/>
                <a:gd name="T16" fmla="*/ 50 w 93"/>
                <a:gd name="T17" fmla="*/ 0 h 109"/>
                <a:gd name="T18" fmla="*/ 93 w 93"/>
                <a:gd name="T19" fmla="*/ 31 h 109"/>
                <a:gd name="T20" fmla="*/ 93 w 93"/>
                <a:gd name="T21" fmla="*/ 108 h 109"/>
                <a:gd name="T22" fmla="*/ 68 w 93"/>
                <a:gd name="T23" fmla="*/ 108 h 109"/>
                <a:gd name="T24" fmla="*/ 66 w 93"/>
                <a:gd name="T25" fmla="*/ 98 h 109"/>
                <a:gd name="T26" fmla="*/ 27 w 93"/>
                <a:gd name="T27" fmla="*/ 76 h 109"/>
                <a:gd name="T28" fmla="*/ 40 w 93"/>
                <a:gd name="T29" fmla="*/ 90 h 109"/>
                <a:gd name="T30" fmla="*/ 65 w 93"/>
                <a:gd name="T31" fmla="*/ 79 h 109"/>
                <a:gd name="T32" fmla="*/ 65 w 93"/>
                <a:gd name="T33" fmla="*/ 54 h 109"/>
                <a:gd name="T34" fmla="*/ 27 w 93"/>
                <a:gd name="T35" fmla="*/ 7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8"/>
                  </a:moveTo>
                  <a:cubicBezTo>
                    <a:pt x="55" y="105"/>
                    <a:pt x="44" y="109"/>
                    <a:pt x="31" y="109"/>
                  </a:cubicBezTo>
                  <a:cubicBezTo>
                    <a:pt x="11" y="109"/>
                    <a:pt x="0" y="96"/>
                    <a:pt x="0" y="78"/>
                  </a:cubicBezTo>
                  <a:cubicBezTo>
                    <a:pt x="0" y="55"/>
                    <a:pt x="21" y="42"/>
                    <a:pt x="66" y="37"/>
                  </a:cubicBezTo>
                  <a:cubicBezTo>
                    <a:pt x="66" y="31"/>
                    <a:pt x="66" y="31"/>
                    <a:pt x="66" y="31"/>
                  </a:cubicBezTo>
                  <a:cubicBezTo>
                    <a:pt x="66" y="24"/>
                    <a:pt x="60" y="19"/>
                    <a:pt x="50" y="19"/>
                  </a:cubicBezTo>
                  <a:cubicBezTo>
                    <a:pt x="39" y="19"/>
                    <a:pt x="30" y="24"/>
                    <a:pt x="24" y="31"/>
                  </a:cubicBezTo>
                  <a:cubicBezTo>
                    <a:pt x="5" y="21"/>
                    <a:pt x="5" y="21"/>
                    <a:pt x="5" y="21"/>
                  </a:cubicBezTo>
                  <a:cubicBezTo>
                    <a:pt x="15" y="7"/>
                    <a:pt x="30" y="0"/>
                    <a:pt x="50" y="0"/>
                  </a:cubicBezTo>
                  <a:cubicBezTo>
                    <a:pt x="77" y="0"/>
                    <a:pt x="93" y="12"/>
                    <a:pt x="93" y="31"/>
                  </a:cubicBezTo>
                  <a:cubicBezTo>
                    <a:pt x="93" y="31"/>
                    <a:pt x="93" y="107"/>
                    <a:pt x="93" y="108"/>
                  </a:cubicBezTo>
                  <a:cubicBezTo>
                    <a:pt x="68" y="108"/>
                    <a:pt x="68" y="108"/>
                    <a:pt x="68" y="108"/>
                  </a:cubicBezTo>
                  <a:lnTo>
                    <a:pt x="66" y="98"/>
                  </a:lnTo>
                  <a:close/>
                  <a:moveTo>
                    <a:pt x="27" y="76"/>
                  </a:moveTo>
                  <a:cubicBezTo>
                    <a:pt x="27" y="83"/>
                    <a:pt x="32" y="90"/>
                    <a:pt x="40" y="90"/>
                  </a:cubicBezTo>
                  <a:cubicBezTo>
                    <a:pt x="48" y="90"/>
                    <a:pt x="57" y="86"/>
                    <a:pt x="65" y="79"/>
                  </a:cubicBezTo>
                  <a:cubicBezTo>
                    <a:pt x="65" y="54"/>
                    <a:pt x="65" y="54"/>
                    <a:pt x="65" y="54"/>
                  </a:cubicBezTo>
                  <a:cubicBezTo>
                    <a:pt x="39" y="57"/>
                    <a:pt x="27" y="64"/>
                    <a:pt x="27"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 name="Freeform 15">
              <a:extLst>
                <a:ext uri="{FF2B5EF4-FFF2-40B4-BE49-F238E27FC236}">
                  <a16:creationId xmlns:a16="http://schemas.microsoft.com/office/drawing/2014/main" id="{8395EA3D-C719-4A3F-A131-4125CAAF790C}"/>
                </a:ext>
              </a:extLst>
            </p:cNvPr>
            <p:cNvSpPr>
              <a:spLocks/>
            </p:cNvSpPr>
            <p:nvPr/>
          </p:nvSpPr>
          <p:spPr bwMode="auto">
            <a:xfrm>
              <a:off x="550863" y="4706938"/>
              <a:ext cx="63500" cy="73025"/>
            </a:xfrm>
            <a:custGeom>
              <a:avLst/>
              <a:gdLst>
                <a:gd name="T0" fmla="*/ 0 w 94"/>
                <a:gd name="T1" fmla="*/ 5 h 107"/>
                <a:gd name="T2" fmla="*/ 23 w 94"/>
                <a:gd name="T3" fmla="*/ 2 h 107"/>
                <a:gd name="T4" fmla="*/ 25 w 94"/>
                <a:gd name="T5" fmla="*/ 14 h 107"/>
                <a:gd name="T6" fmla="*/ 61 w 94"/>
                <a:gd name="T7" fmla="*/ 0 h 107"/>
                <a:gd name="T8" fmla="*/ 94 w 94"/>
                <a:gd name="T9" fmla="*/ 34 h 107"/>
                <a:gd name="T10" fmla="*/ 94 w 94"/>
                <a:gd name="T11" fmla="*/ 107 h 107"/>
                <a:gd name="T12" fmla="*/ 66 w 94"/>
                <a:gd name="T13" fmla="*/ 107 h 107"/>
                <a:gd name="T14" fmla="*/ 66 w 94"/>
                <a:gd name="T15" fmla="*/ 39 h 107"/>
                <a:gd name="T16" fmla="*/ 53 w 94"/>
                <a:gd name="T17" fmla="*/ 20 h 107"/>
                <a:gd name="T18" fmla="*/ 27 w 94"/>
                <a:gd name="T19" fmla="*/ 32 h 107"/>
                <a:gd name="T20" fmla="*/ 27 w 94"/>
                <a:gd name="T21" fmla="*/ 107 h 107"/>
                <a:gd name="T22" fmla="*/ 0 w 94"/>
                <a:gd name="T23" fmla="*/ 107 h 107"/>
                <a:gd name="T24" fmla="*/ 0 w 94"/>
                <a:gd name="T25"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7">
                  <a:moveTo>
                    <a:pt x="0" y="5"/>
                  </a:moveTo>
                  <a:cubicBezTo>
                    <a:pt x="23" y="2"/>
                    <a:pt x="23" y="2"/>
                    <a:pt x="23" y="2"/>
                  </a:cubicBezTo>
                  <a:cubicBezTo>
                    <a:pt x="25" y="14"/>
                    <a:pt x="25" y="14"/>
                    <a:pt x="25" y="14"/>
                  </a:cubicBezTo>
                  <a:cubicBezTo>
                    <a:pt x="38" y="5"/>
                    <a:pt x="48" y="0"/>
                    <a:pt x="61" y="0"/>
                  </a:cubicBezTo>
                  <a:cubicBezTo>
                    <a:pt x="83" y="0"/>
                    <a:pt x="94" y="11"/>
                    <a:pt x="94" y="34"/>
                  </a:cubicBezTo>
                  <a:cubicBezTo>
                    <a:pt x="94" y="107"/>
                    <a:pt x="94" y="107"/>
                    <a:pt x="94" y="107"/>
                  </a:cubicBezTo>
                  <a:cubicBezTo>
                    <a:pt x="66" y="107"/>
                    <a:pt x="66" y="107"/>
                    <a:pt x="66" y="107"/>
                  </a:cubicBezTo>
                  <a:cubicBezTo>
                    <a:pt x="66" y="39"/>
                    <a:pt x="66" y="39"/>
                    <a:pt x="66" y="39"/>
                  </a:cubicBezTo>
                  <a:cubicBezTo>
                    <a:pt x="66" y="26"/>
                    <a:pt x="63" y="20"/>
                    <a:pt x="53" y="20"/>
                  </a:cubicBezTo>
                  <a:cubicBezTo>
                    <a:pt x="45" y="20"/>
                    <a:pt x="37" y="24"/>
                    <a:pt x="27" y="32"/>
                  </a:cubicBezTo>
                  <a:cubicBezTo>
                    <a:pt x="27" y="107"/>
                    <a:pt x="27" y="107"/>
                    <a:pt x="27" y="107"/>
                  </a:cubicBezTo>
                  <a:cubicBezTo>
                    <a:pt x="0" y="107"/>
                    <a:pt x="0" y="107"/>
                    <a:pt x="0" y="107"/>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7" name="Freeform 16">
              <a:extLst>
                <a:ext uri="{FF2B5EF4-FFF2-40B4-BE49-F238E27FC236}">
                  <a16:creationId xmlns:a16="http://schemas.microsoft.com/office/drawing/2014/main" id="{2F535571-531A-419E-B5CF-90E57D409260}"/>
                </a:ext>
              </a:extLst>
            </p:cNvPr>
            <p:cNvSpPr>
              <a:spLocks noEditPoints="1"/>
            </p:cNvSpPr>
            <p:nvPr/>
          </p:nvSpPr>
          <p:spPr bwMode="auto">
            <a:xfrm>
              <a:off x="704850" y="4706938"/>
              <a:ext cx="66675" cy="74613"/>
            </a:xfrm>
            <a:custGeom>
              <a:avLst/>
              <a:gdLst>
                <a:gd name="T0" fmla="*/ 49 w 97"/>
                <a:gd name="T1" fmla="*/ 109 h 109"/>
                <a:gd name="T2" fmla="*/ 0 w 97"/>
                <a:gd name="T3" fmla="*/ 55 h 109"/>
                <a:gd name="T4" fmla="*/ 49 w 97"/>
                <a:gd name="T5" fmla="*/ 0 h 109"/>
                <a:gd name="T6" fmla="*/ 97 w 97"/>
                <a:gd name="T7" fmla="*/ 54 h 109"/>
                <a:gd name="T8" fmla="*/ 97 w 97"/>
                <a:gd name="T9" fmla="*/ 59 h 109"/>
                <a:gd name="T10" fmla="*/ 27 w 97"/>
                <a:gd name="T11" fmla="*/ 59 h 109"/>
                <a:gd name="T12" fmla="*/ 52 w 97"/>
                <a:gd name="T13" fmla="*/ 89 h 109"/>
                <a:gd name="T14" fmla="*/ 76 w 97"/>
                <a:gd name="T15" fmla="*/ 75 h 109"/>
                <a:gd name="T16" fmla="*/ 96 w 97"/>
                <a:gd name="T17" fmla="*/ 87 h 109"/>
                <a:gd name="T18" fmla="*/ 49 w 97"/>
                <a:gd name="T19" fmla="*/ 109 h 109"/>
                <a:gd name="T20" fmla="*/ 70 w 97"/>
                <a:gd name="T21" fmla="*/ 41 h 109"/>
                <a:gd name="T22" fmla="*/ 49 w 97"/>
                <a:gd name="T23" fmla="*/ 19 h 109"/>
                <a:gd name="T24" fmla="*/ 28 w 97"/>
                <a:gd name="T25" fmla="*/ 41 h 109"/>
                <a:gd name="T26" fmla="*/ 70 w 97"/>
                <a:gd name="T27" fmla="*/ 4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09">
                  <a:moveTo>
                    <a:pt x="49" y="109"/>
                  </a:moveTo>
                  <a:cubicBezTo>
                    <a:pt x="18" y="109"/>
                    <a:pt x="0" y="90"/>
                    <a:pt x="0" y="55"/>
                  </a:cubicBezTo>
                  <a:cubicBezTo>
                    <a:pt x="0" y="20"/>
                    <a:pt x="19" y="0"/>
                    <a:pt x="49" y="0"/>
                  </a:cubicBezTo>
                  <a:cubicBezTo>
                    <a:pt x="79" y="0"/>
                    <a:pt x="97" y="19"/>
                    <a:pt x="97" y="54"/>
                  </a:cubicBezTo>
                  <a:cubicBezTo>
                    <a:pt x="97" y="55"/>
                    <a:pt x="97" y="57"/>
                    <a:pt x="97" y="59"/>
                  </a:cubicBezTo>
                  <a:cubicBezTo>
                    <a:pt x="27" y="59"/>
                    <a:pt x="27" y="59"/>
                    <a:pt x="27" y="59"/>
                  </a:cubicBezTo>
                  <a:cubicBezTo>
                    <a:pt x="27" y="79"/>
                    <a:pt x="36" y="89"/>
                    <a:pt x="52" y="89"/>
                  </a:cubicBezTo>
                  <a:cubicBezTo>
                    <a:pt x="62" y="89"/>
                    <a:pt x="69" y="85"/>
                    <a:pt x="76" y="75"/>
                  </a:cubicBezTo>
                  <a:cubicBezTo>
                    <a:pt x="96" y="87"/>
                    <a:pt x="96" y="87"/>
                    <a:pt x="96" y="87"/>
                  </a:cubicBezTo>
                  <a:cubicBezTo>
                    <a:pt x="87" y="102"/>
                    <a:pt x="71" y="109"/>
                    <a:pt x="49" y="109"/>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8" name="Freeform 17">
              <a:extLst>
                <a:ext uri="{FF2B5EF4-FFF2-40B4-BE49-F238E27FC236}">
                  <a16:creationId xmlns:a16="http://schemas.microsoft.com/office/drawing/2014/main" id="{ABAC7ED4-1A0E-41AD-ADE8-8AC89F3CA83B}"/>
                </a:ext>
              </a:extLst>
            </p:cNvPr>
            <p:cNvSpPr>
              <a:spLocks noEditPoints="1"/>
            </p:cNvSpPr>
            <p:nvPr/>
          </p:nvSpPr>
          <p:spPr bwMode="auto">
            <a:xfrm>
              <a:off x="342900" y="4706938"/>
              <a:ext cx="69850" cy="762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80" y="0"/>
                    <a:pt x="104" y="17"/>
                    <a:pt x="104" y="55"/>
                  </a:cubicBezTo>
                  <a:cubicBezTo>
                    <a:pt x="104" y="93"/>
                    <a:pt x="80" y="111"/>
                    <a:pt x="52" y="111"/>
                  </a:cubicBezTo>
                  <a:close/>
                  <a:moveTo>
                    <a:pt x="52" y="23"/>
                  </a:moveTo>
                  <a:cubicBezTo>
                    <a:pt x="32" y="23"/>
                    <a:pt x="28" y="42"/>
                    <a:pt x="28" y="55"/>
                  </a:cubicBezTo>
                  <a:cubicBezTo>
                    <a:pt x="28" y="69"/>
                    <a:pt x="32"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9" name="Freeform 18">
              <a:extLst>
                <a:ext uri="{FF2B5EF4-FFF2-40B4-BE49-F238E27FC236}">
                  <a16:creationId xmlns:a16="http://schemas.microsoft.com/office/drawing/2014/main" id="{8B414238-7310-458E-9C15-9BD135B12B57}"/>
                </a:ext>
              </a:extLst>
            </p:cNvPr>
            <p:cNvSpPr>
              <a:spLocks/>
            </p:cNvSpPr>
            <p:nvPr/>
          </p:nvSpPr>
          <p:spPr bwMode="auto">
            <a:xfrm>
              <a:off x="425450" y="4706938"/>
              <a:ext cx="41275" cy="74613"/>
            </a:xfrm>
            <a:custGeom>
              <a:avLst/>
              <a:gdLst>
                <a:gd name="T0" fmla="*/ 0 w 59"/>
                <a:gd name="T1" fmla="*/ 2 h 108"/>
                <a:gd name="T2" fmla="*/ 27 w 59"/>
                <a:gd name="T3" fmla="*/ 2 h 108"/>
                <a:gd name="T4" fmla="*/ 27 w 59"/>
                <a:gd name="T5" fmla="*/ 15 h 108"/>
                <a:gd name="T6" fmla="*/ 56 w 59"/>
                <a:gd name="T7" fmla="*/ 0 h 108"/>
                <a:gd name="T8" fmla="*/ 59 w 59"/>
                <a:gd name="T9" fmla="*/ 0 h 108"/>
                <a:gd name="T10" fmla="*/ 59 w 59"/>
                <a:gd name="T11" fmla="*/ 26 h 108"/>
                <a:gd name="T12" fmla="*/ 58 w 59"/>
                <a:gd name="T13" fmla="*/ 26 h 108"/>
                <a:gd name="T14" fmla="*/ 29 w 59"/>
                <a:gd name="T15" fmla="*/ 38 h 108"/>
                <a:gd name="T16" fmla="*/ 29 w 59"/>
                <a:gd name="T17" fmla="*/ 108 h 108"/>
                <a:gd name="T18" fmla="*/ 0 w 59"/>
                <a:gd name="T19" fmla="*/ 108 h 108"/>
                <a:gd name="T20" fmla="*/ 0 w 59"/>
                <a:gd name="T21"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2"/>
                  </a:moveTo>
                  <a:cubicBezTo>
                    <a:pt x="27" y="2"/>
                    <a:pt x="27" y="2"/>
                    <a:pt x="27" y="2"/>
                  </a:cubicBezTo>
                  <a:cubicBezTo>
                    <a:pt x="27" y="15"/>
                    <a:pt x="27" y="15"/>
                    <a:pt x="27" y="15"/>
                  </a:cubicBezTo>
                  <a:cubicBezTo>
                    <a:pt x="32" y="8"/>
                    <a:pt x="44" y="0"/>
                    <a:pt x="56" y="0"/>
                  </a:cubicBezTo>
                  <a:cubicBezTo>
                    <a:pt x="57" y="0"/>
                    <a:pt x="58" y="0"/>
                    <a:pt x="59" y="0"/>
                  </a:cubicBezTo>
                  <a:cubicBezTo>
                    <a:pt x="59" y="26"/>
                    <a:pt x="59" y="26"/>
                    <a:pt x="59" y="26"/>
                  </a:cubicBezTo>
                  <a:cubicBezTo>
                    <a:pt x="59" y="26"/>
                    <a:pt x="58" y="26"/>
                    <a:pt x="58" y="26"/>
                  </a:cubicBezTo>
                  <a:cubicBezTo>
                    <a:pt x="46" y="26"/>
                    <a:pt x="33" y="28"/>
                    <a:pt x="29" y="38"/>
                  </a:cubicBezTo>
                  <a:cubicBezTo>
                    <a:pt x="29" y="108"/>
                    <a:pt x="29" y="108"/>
                    <a:pt x="29" y="108"/>
                  </a:cubicBezTo>
                  <a:cubicBezTo>
                    <a:pt x="0" y="108"/>
                    <a:pt x="0" y="108"/>
                    <a:pt x="0" y="108"/>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0" name="Freeform 19">
              <a:extLst>
                <a:ext uri="{FF2B5EF4-FFF2-40B4-BE49-F238E27FC236}">
                  <a16:creationId xmlns:a16="http://schemas.microsoft.com/office/drawing/2014/main" id="{B156E558-F03B-4BE9-A819-A10409A46BCC}"/>
                </a:ext>
              </a:extLst>
            </p:cNvPr>
            <p:cNvSpPr>
              <a:spLocks noEditPoints="1"/>
            </p:cNvSpPr>
            <p:nvPr/>
          </p:nvSpPr>
          <p:spPr bwMode="auto">
            <a:xfrm>
              <a:off x="627063" y="4706938"/>
              <a:ext cx="66675" cy="101600"/>
            </a:xfrm>
            <a:custGeom>
              <a:avLst/>
              <a:gdLst>
                <a:gd name="T0" fmla="*/ 49 w 98"/>
                <a:gd name="T1" fmla="*/ 85 h 149"/>
                <a:gd name="T2" fmla="*/ 72 w 98"/>
                <a:gd name="T3" fmla="*/ 49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8 h 149"/>
                <a:gd name="T16" fmla="*/ 3 w 98"/>
                <a:gd name="T17" fmla="*/ 122 h 149"/>
                <a:gd name="T18" fmla="*/ 30 w 98"/>
                <a:gd name="T19" fmla="*/ 118 h 149"/>
                <a:gd name="T20" fmla="*/ 50 w 98"/>
                <a:gd name="T21" fmla="*/ 128 h 149"/>
                <a:gd name="T22" fmla="*/ 71 w 98"/>
                <a:gd name="T23" fmla="*/ 105 h 149"/>
                <a:gd name="T24" fmla="*/ 71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3"/>
                    <a:pt x="72" y="49"/>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8"/>
                  </a:cubicBezTo>
                  <a:cubicBezTo>
                    <a:pt x="26" y="149"/>
                    <a:pt x="7" y="140"/>
                    <a:pt x="3" y="122"/>
                  </a:cubicBezTo>
                  <a:cubicBezTo>
                    <a:pt x="30" y="118"/>
                    <a:pt x="30" y="118"/>
                    <a:pt x="30" y="118"/>
                  </a:cubicBezTo>
                  <a:cubicBezTo>
                    <a:pt x="32" y="123"/>
                    <a:pt x="35" y="128"/>
                    <a:pt x="50" y="128"/>
                  </a:cubicBezTo>
                  <a:cubicBezTo>
                    <a:pt x="65" y="128"/>
                    <a:pt x="71" y="121"/>
                    <a:pt x="71" y="105"/>
                  </a:cubicBezTo>
                  <a:cubicBezTo>
                    <a:pt x="71" y="93"/>
                    <a:pt x="71" y="93"/>
                    <a:pt x="71"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1" name="Freeform 20">
              <a:extLst>
                <a:ext uri="{FF2B5EF4-FFF2-40B4-BE49-F238E27FC236}">
                  <a16:creationId xmlns:a16="http://schemas.microsoft.com/office/drawing/2014/main" id="{8AD2F3D5-B988-4CEC-91D2-17A637185159}"/>
                </a:ext>
              </a:extLst>
            </p:cNvPr>
            <p:cNvSpPr>
              <a:spLocks noEditPoints="1"/>
            </p:cNvSpPr>
            <p:nvPr/>
          </p:nvSpPr>
          <p:spPr bwMode="auto">
            <a:xfrm>
              <a:off x="760413" y="4681538"/>
              <a:ext cx="49213" cy="23813"/>
            </a:xfrm>
            <a:custGeom>
              <a:avLst/>
              <a:gdLst>
                <a:gd name="T0" fmla="*/ 12 w 31"/>
                <a:gd name="T1" fmla="*/ 2 h 15"/>
                <a:gd name="T2" fmla="*/ 7 w 31"/>
                <a:gd name="T3" fmla="*/ 2 h 15"/>
                <a:gd name="T4" fmla="*/ 7 w 31"/>
                <a:gd name="T5" fmla="*/ 15 h 15"/>
                <a:gd name="T6" fmla="*/ 5 w 31"/>
                <a:gd name="T7" fmla="*/ 15 h 15"/>
                <a:gd name="T8" fmla="*/ 5 w 31"/>
                <a:gd name="T9" fmla="*/ 2 h 15"/>
                <a:gd name="T10" fmla="*/ 0 w 31"/>
                <a:gd name="T11" fmla="*/ 2 h 15"/>
                <a:gd name="T12" fmla="*/ 0 w 31"/>
                <a:gd name="T13" fmla="*/ 0 h 15"/>
                <a:gd name="T14" fmla="*/ 12 w 31"/>
                <a:gd name="T15" fmla="*/ 0 h 15"/>
                <a:gd name="T16" fmla="*/ 12 w 31"/>
                <a:gd name="T17" fmla="*/ 2 h 15"/>
                <a:gd name="T18" fmla="*/ 31 w 31"/>
                <a:gd name="T19" fmla="*/ 15 h 15"/>
                <a:gd name="T20" fmla="*/ 29 w 31"/>
                <a:gd name="T21" fmla="*/ 15 h 15"/>
                <a:gd name="T22" fmla="*/ 29 w 31"/>
                <a:gd name="T23" fmla="*/ 3 h 15"/>
                <a:gd name="T24" fmla="*/ 29 w 31"/>
                <a:gd name="T25" fmla="*/ 3 h 15"/>
                <a:gd name="T26" fmla="*/ 24 w 31"/>
                <a:gd name="T27" fmla="*/ 15 h 15"/>
                <a:gd name="T28" fmla="*/ 22 w 31"/>
                <a:gd name="T29" fmla="*/ 15 h 15"/>
                <a:gd name="T30" fmla="*/ 17 w 31"/>
                <a:gd name="T31" fmla="*/ 3 h 15"/>
                <a:gd name="T32" fmla="*/ 17 w 31"/>
                <a:gd name="T33" fmla="*/ 3 h 15"/>
                <a:gd name="T34" fmla="*/ 17 w 31"/>
                <a:gd name="T35" fmla="*/ 15 h 15"/>
                <a:gd name="T36" fmla="*/ 15 w 31"/>
                <a:gd name="T37" fmla="*/ 15 h 15"/>
                <a:gd name="T38" fmla="*/ 15 w 31"/>
                <a:gd name="T39" fmla="*/ 0 h 15"/>
                <a:gd name="T40" fmla="*/ 19 w 31"/>
                <a:gd name="T41" fmla="*/ 0 h 15"/>
                <a:gd name="T42" fmla="*/ 23 w 31"/>
                <a:gd name="T43" fmla="*/ 12 h 15"/>
                <a:gd name="T44" fmla="*/ 28 w 31"/>
                <a:gd name="T45" fmla="*/ 0 h 15"/>
                <a:gd name="T46" fmla="*/ 31 w 31"/>
                <a:gd name="T47" fmla="*/ 0 h 15"/>
                <a:gd name="T48" fmla="*/ 31 w 31"/>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15">
                  <a:moveTo>
                    <a:pt x="12" y="2"/>
                  </a:moveTo>
                  <a:lnTo>
                    <a:pt x="7" y="2"/>
                  </a:lnTo>
                  <a:lnTo>
                    <a:pt x="7" y="15"/>
                  </a:lnTo>
                  <a:lnTo>
                    <a:pt x="5" y="15"/>
                  </a:lnTo>
                  <a:lnTo>
                    <a:pt x="5" y="2"/>
                  </a:lnTo>
                  <a:lnTo>
                    <a:pt x="0" y="2"/>
                  </a:lnTo>
                  <a:lnTo>
                    <a:pt x="0" y="0"/>
                  </a:lnTo>
                  <a:lnTo>
                    <a:pt x="12" y="0"/>
                  </a:lnTo>
                  <a:lnTo>
                    <a:pt x="12" y="2"/>
                  </a:lnTo>
                  <a:close/>
                  <a:moveTo>
                    <a:pt x="31" y="15"/>
                  </a:moveTo>
                  <a:lnTo>
                    <a:pt x="29" y="15"/>
                  </a:lnTo>
                  <a:lnTo>
                    <a:pt x="29" y="3"/>
                  </a:lnTo>
                  <a:lnTo>
                    <a:pt x="29" y="3"/>
                  </a:lnTo>
                  <a:lnTo>
                    <a:pt x="24" y="15"/>
                  </a:lnTo>
                  <a:lnTo>
                    <a:pt x="22" y="15"/>
                  </a:lnTo>
                  <a:lnTo>
                    <a:pt x="17" y="3"/>
                  </a:lnTo>
                  <a:lnTo>
                    <a:pt x="17" y="3"/>
                  </a:lnTo>
                  <a:lnTo>
                    <a:pt x="17" y="15"/>
                  </a:lnTo>
                  <a:lnTo>
                    <a:pt x="15" y="15"/>
                  </a:lnTo>
                  <a:lnTo>
                    <a:pt x="15" y="0"/>
                  </a:lnTo>
                  <a:lnTo>
                    <a:pt x="19" y="0"/>
                  </a:lnTo>
                  <a:lnTo>
                    <a:pt x="23" y="12"/>
                  </a:lnTo>
                  <a:lnTo>
                    <a:pt x="28" y="0"/>
                  </a:lnTo>
                  <a:lnTo>
                    <a:pt x="31" y="0"/>
                  </a:lnTo>
                  <a:lnTo>
                    <a:pt x="3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Tree>
    <p:extLst>
      <p:ext uri="{BB962C8B-B14F-4D97-AF65-F5344CB8AC3E}">
        <p14:creationId xmlns:p14="http://schemas.microsoft.com/office/powerpoint/2010/main" val="405738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19102" y="356661"/>
            <a:ext cx="11353799" cy="5711825"/>
          </a:xfrm>
        </p:spPr>
        <p:txBody>
          <a:bodyPr/>
          <a:lstStyle>
            <a:lvl1pPr>
              <a:spcBef>
                <a:spcPts val="0"/>
              </a:spcBef>
              <a:defRPr sz="4000"/>
            </a:lvl1pPr>
            <a:lvl2pPr marL="482576" indent="-482576">
              <a:spcBef>
                <a:spcPts val="0"/>
              </a:spcBef>
              <a:buClrTx/>
              <a:buSzPct val="100000"/>
              <a:buFont typeface="+mj-lt"/>
              <a:buAutoNum type="arabicPeriod"/>
              <a:defRPr sz="4000"/>
            </a:lvl2pPr>
            <a:lvl3pPr>
              <a:defRPr sz="2400"/>
            </a:lvl3pPr>
            <a:lvl4pPr>
              <a:defRPr sz="2400"/>
            </a:lvl4pPr>
            <a:lvl5pPr>
              <a:defRPr sz="2400"/>
            </a:lvl5pPr>
          </a:lstStyle>
          <a:p>
            <a:pPr lvl="0"/>
            <a:r>
              <a:rPr lang="en-US"/>
              <a:t>Click to edit contents</a:t>
            </a:r>
          </a:p>
          <a:p>
            <a:pPr lvl="1"/>
            <a:r>
              <a:rPr lang="en-US"/>
              <a:t>Second level</a:t>
            </a:r>
          </a:p>
        </p:txBody>
      </p:sp>
    </p:spTree>
    <p:extLst>
      <p:ext uri="{BB962C8B-B14F-4D97-AF65-F5344CB8AC3E}">
        <p14:creationId xmlns:p14="http://schemas.microsoft.com/office/powerpoint/2010/main" val="18945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61" y="357719"/>
            <a:ext cx="8129119" cy="5710767"/>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en-US"/>
              <a:t>Click to edit section number</a:t>
            </a:r>
          </a:p>
          <a:p>
            <a:pPr lvl="1"/>
            <a:r>
              <a:rPr lang="en-US"/>
              <a:t>Second level</a:t>
            </a:r>
          </a:p>
        </p:txBody>
      </p:sp>
    </p:spTree>
    <p:extLst>
      <p:ext uri="{BB962C8B-B14F-4D97-AF65-F5344CB8AC3E}">
        <p14:creationId xmlns:p14="http://schemas.microsoft.com/office/powerpoint/2010/main" val="249773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7602" y="1574801"/>
            <a:ext cx="5290740"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4" name="Content Placeholder 3"/>
          <p:cNvSpPr>
            <a:spLocks noGrp="1"/>
          </p:cNvSpPr>
          <p:nvPr>
            <p:ph sz="half" idx="2" hasCustomPrompt="1"/>
          </p:nvPr>
        </p:nvSpPr>
        <p:spPr>
          <a:xfrm>
            <a:off x="6486393" y="1574801"/>
            <a:ext cx="5286507" cy="4493683"/>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7" name="Title 6"/>
          <p:cNvSpPr>
            <a:spLocks noGrp="1"/>
          </p:cNvSpPr>
          <p:nvPr>
            <p:ph type="title" hasCustomPrompt="1"/>
          </p:nvPr>
        </p:nvSpPr>
        <p:spPr>
          <a:xfrm>
            <a:off x="417599" y="357717"/>
            <a:ext cx="11355300" cy="988483"/>
          </a:xfrm>
        </p:spPr>
        <p:txBody>
          <a:bodyPr/>
          <a:lstStyle>
            <a:lvl1pPr>
              <a:defRPr/>
            </a:lvl1pPr>
          </a:lstStyle>
          <a:p>
            <a:r>
              <a:rPr lang="en-US"/>
              <a:t>Click to edit title</a:t>
            </a:r>
            <a:endParaRPr lang="en-GB"/>
          </a:p>
        </p:txBody>
      </p:sp>
    </p:spTree>
    <p:extLst>
      <p:ext uri="{BB962C8B-B14F-4D97-AF65-F5344CB8AC3E}">
        <p14:creationId xmlns:p14="http://schemas.microsoft.com/office/powerpoint/2010/main" val="295002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 title</a:t>
            </a:r>
            <a:endParaRPr lang="en-GB"/>
          </a:p>
        </p:txBody>
      </p:sp>
    </p:spTree>
    <p:extLst>
      <p:ext uri="{BB962C8B-B14F-4D97-AF65-F5344CB8AC3E}">
        <p14:creationId xmlns:p14="http://schemas.microsoft.com/office/powerpoint/2010/main" val="35221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ull Bleed Media">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0" y="0"/>
            <a:ext cx="12192000" cy="6858000"/>
          </a:xfrm>
        </p:spPr>
        <p:txBody>
          <a:bodyPr/>
          <a:lstStyle>
            <a:lvl1pPr>
              <a:defRPr sz="2667"/>
            </a:lvl1pPr>
          </a:lstStyle>
          <a:p>
            <a:r>
              <a:rPr lang="fr-FR"/>
              <a:t>Cliquez sur l'icône pour ajouter une image</a:t>
            </a:r>
            <a:endParaRPr lang="en-GB"/>
          </a:p>
        </p:txBody>
      </p:sp>
      <p:sp>
        <p:nvSpPr>
          <p:cNvPr id="2" name="Title 1"/>
          <p:cNvSpPr>
            <a:spLocks noGrp="1"/>
          </p:cNvSpPr>
          <p:nvPr>
            <p:ph type="title" hasCustomPrompt="1"/>
          </p:nvPr>
        </p:nvSpPr>
        <p:spPr/>
        <p:txBody>
          <a:bodyPr/>
          <a:lstStyle>
            <a:lvl1pPr>
              <a:defRPr baseline="0">
                <a:solidFill>
                  <a:srgbClr val="000000"/>
                </a:solidFill>
              </a:defRPr>
            </a:lvl1pPr>
          </a:lstStyle>
          <a:p>
            <a:r>
              <a:rPr lang="en-US"/>
              <a:t>Click to edit title</a:t>
            </a:r>
            <a:endParaRPr lang="en-GB"/>
          </a:p>
        </p:txBody>
      </p:sp>
    </p:spTree>
    <p:extLst>
      <p:ext uri="{BB962C8B-B14F-4D97-AF65-F5344CB8AC3E}">
        <p14:creationId xmlns:p14="http://schemas.microsoft.com/office/powerpoint/2010/main" val="349332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83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452969"/>
            <a:ext cx="11294532" cy="5507567"/>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sz="1867">
                <a:latin typeface="Helvetica 75 Bold" panose="020B0804020202020204" pitchFamily="34" charset="0"/>
              </a:defRPr>
            </a:lvl2pPr>
            <a:lvl3pPr marL="0" indent="0">
              <a:lnSpc>
                <a:spcPct val="85000"/>
              </a:lnSpc>
              <a:spcAft>
                <a:spcPts val="1067"/>
              </a:spcAft>
              <a:buNone/>
              <a:defRPr sz="1600"/>
            </a:lvl3pPr>
            <a:lvl4pPr>
              <a:lnSpc>
                <a:spcPct val="85000"/>
              </a:lnSpc>
              <a:spcAft>
                <a:spcPts val="1067"/>
              </a:spcAft>
              <a:defRPr sz="7333"/>
            </a:lvl4pPr>
            <a:lvl5pPr>
              <a:lnSpc>
                <a:spcPct val="85000"/>
              </a:lnSpc>
              <a:spcAft>
                <a:spcPts val="1067"/>
              </a:spcAft>
              <a:defRPr sz="7333"/>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2217393396"/>
      </p:ext>
    </p:extLst>
  </p:cSld>
  <p:clrMapOvr>
    <a:masterClrMapping/>
  </p:clrMapOvr>
  <p:transition spd="med">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1" y="452970"/>
            <a:ext cx="11294532" cy="5507567"/>
          </a:xfrm>
        </p:spPr>
        <p:txBody>
          <a:bodyPr/>
          <a:lstStyle>
            <a:lvl1pPr>
              <a:lnSpc>
                <a:spcPct val="85000"/>
              </a:lnSpc>
              <a:spcAft>
                <a:spcPts val="0"/>
              </a:spcAft>
              <a:defRPr sz="4000">
                <a:solidFill>
                  <a:srgbClr val="FF6600"/>
                </a:solidFill>
                <a:latin typeface="Helvetica 75 Bold" panose="020B0804020202020204" pitchFamily="34" charset="0"/>
              </a:defRPr>
            </a:lvl1pPr>
            <a:lvl2pPr marL="535477" indent="-535477">
              <a:lnSpc>
                <a:spcPct val="85000"/>
              </a:lnSpc>
              <a:spcAft>
                <a:spcPts val="0"/>
              </a:spcAft>
              <a:buFont typeface="+mj-lt"/>
              <a:buAutoNum type="arabicPeriod"/>
              <a:defRPr sz="4000">
                <a:latin typeface="Helvetica 75 Bold" panose="020B0804020202020204" pitchFamily="34" charset="0"/>
              </a:defRPr>
            </a:lvl2pPr>
            <a:lvl3pPr marL="0" indent="0">
              <a:lnSpc>
                <a:spcPct val="85000"/>
              </a:lnSpc>
              <a:spcAft>
                <a:spcPts val="1067"/>
              </a:spcAft>
              <a:buFont typeface="+mj-lt"/>
              <a:buNone/>
              <a:defRPr sz="4000"/>
            </a:lvl3pPr>
            <a:lvl4pPr marL="0" indent="0">
              <a:lnSpc>
                <a:spcPct val="85000"/>
              </a:lnSpc>
              <a:spcAft>
                <a:spcPts val="1067"/>
              </a:spcAft>
              <a:buFont typeface="+mj-lt"/>
              <a:buNone/>
              <a:defRPr sz="4000"/>
            </a:lvl4pPr>
            <a:lvl5pPr marL="0" indent="0">
              <a:lnSpc>
                <a:spcPct val="85000"/>
              </a:lnSpc>
              <a:spcAft>
                <a:spcPts val="1067"/>
              </a:spcAft>
              <a:buFont typeface="+mj-lt"/>
              <a:buNone/>
              <a:defRPr sz="40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06809464"/>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6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tatic_Blank">
    <p:spTree>
      <p:nvGrpSpPr>
        <p:cNvPr id="1" name=""/>
        <p:cNvGrpSpPr/>
        <p:nvPr/>
      </p:nvGrpSpPr>
      <p:grpSpPr>
        <a:xfrm>
          <a:off x="0" y="0"/>
          <a:ext cx="0" cy="0"/>
          <a:chOff x="0" y="0"/>
          <a:chExt cx="0" cy="0"/>
        </a:xfrm>
      </p:grpSpPr>
      <p:sp>
        <p:nvSpPr>
          <p:cNvPr id="2" name="Text Placeholder"/>
          <p:cNvSpPr>
            <a:spLocks noGrp="1"/>
          </p:cNvSpPr>
          <p:nvPr>
            <p:ph type="ctrTitle" hasCustomPrompt="1"/>
          </p:nvPr>
        </p:nvSpPr>
        <p:spPr>
          <a:xfrm>
            <a:off x="759885" y="762001"/>
            <a:ext cx="4193116" cy="2669116"/>
          </a:xfrm>
        </p:spPr>
        <p:txBody>
          <a:bodyPr>
            <a:noAutofit/>
          </a:bodyPr>
          <a:lstStyle>
            <a:lvl1pPr algn="l">
              <a:lnSpc>
                <a:spcPct val="85000"/>
              </a:lnSpc>
              <a:defRPr sz="6000" baseline="0">
                <a:solidFill>
                  <a:schemeClr val="accent1"/>
                </a:solidFill>
              </a:defRPr>
            </a:lvl1pPr>
          </a:lstStyle>
          <a:p>
            <a:r>
              <a:rPr lang="en-US"/>
              <a:t>Edit title</a:t>
            </a:r>
            <a:endParaRPr lang="en-GB"/>
          </a:p>
        </p:txBody>
      </p:sp>
      <p:sp>
        <p:nvSpPr>
          <p:cNvPr id="17" name="Text Placeholder"/>
          <p:cNvSpPr>
            <a:spLocks noGrp="1"/>
          </p:cNvSpPr>
          <p:nvPr>
            <p:ph type="body" sz="quarter" idx="16" hasCustomPrompt="1"/>
          </p:nvPr>
        </p:nvSpPr>
        <p:spPr>
          <a:xfrm>
            <a:off x="759885" y="3814234"/>
            <a:ext cx="4193115" cy="753532"/>
          </a:xfrm>
        </p:spPr>
        <p:txBody>
          <a:bodyPr/>
          <a:lstStyle>
            <a:lvl1pPr>
              <a:defRPr/>
            </a:lvl1pPr>
          </a:lstStyle>
          <a:p>
            <a:pPr lvl="0"/>
            <a:r>
              <a:rPr lang="en-US"/>
              <a:t>Edit text</a:t>
            </a:r>
          </a:p>
          <a:p>
            <a:pPr lvl="1"/>
            <a:r>
              <a:rPr lang="en-US"/>
              <a:t>Second level</a:t>
            </a:r>
          </a:p>
        </p:txBody>
      </p:sp>
    </p:spTree>
    <p:extLst>
      <p:ext uri="{BB962C8B-B14F-4D97-AF65-F5344CB8AC3E}">
        <p14:creationId xmlns:p14="http://schemas.microsoft.com/office/powerpoint/2010/main" val="189869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tatic_Pixel_1">
    <p:spTree>
      <p:nvGrpSpPr>
        <p:cNvPr id="1" name=""/>
        <p:cNvGrpSpPr/>
        <p:nvPr/>
      </p:nvGrpSpPr>
      <p:grpSpPr>
        <a:xfrm>
          <a:off x="0" y="0"/>
          <a:ext cx="0" cy="0"/>
          <a:chOff x="0" y="0"/>
          <a:chExt cx="0" cy="0"/>
        </a:xfrm>
      </p:grpSpPr>
      <p:grpSp>
        <p:nvGrpSpPr>
          <p:cNvPr id="3" name="Pixels">
            <a:extLst>
              <a:ext uri="{FF2B5EF4-FFF2-40B4-BE49-F238E27FC236}">
                <a16:creationId xmlns:a16="http://schemas.microsoft.com/office/drawing/2014/main" id="{32B2C01B-8598-61AF-A0B1-4879F925A87F}"/>
              </a:ext>
            </a:extLst>
          </p:cNvPr>
          <p:cNvGrpSpPr>
            <a:grpSpLocks noGrp="1" noUngrp="1" noRot="1" noMove="1" noResize="1"/>
          </p:cNvGrpSpPr>
          <p:nvPr/>
        </p:nvGrpSpPr>
        <p:grpSpPr>
          <a:xfrm>
            <a:off x="0" y="0"/>
            <a:ext cx="12192000" cy="6858000"/>
            <a:chOff x="0" y="0"/>
            <a:chExt cx="9144000" cy="5143500"/>
          </a:xfrm>
          <a:solidFill>
            <a:schemeClr val="bg1"/>
          </a:solidFill>
        </p:grpSpPr>
        <p:sp>
          <p:nvSpPr>
            <p:cNvPr id="4" name="Freeform: Shape 3">
              <a:extLst>
                <a:ext uri="{FF2B5EF4-FFF2-40B4-BE49-F238E27FC236}">
                  <a16:creationId xmlns:a16="http://schemas.microsoft.com/office/drawing/2014/main" id="{E81100D8-B382-9CD3-2826-7FE42E96CC9F}"/>
                </a:ext>
              </a:extLst>
            </p:cNvPr>
            <p:cNvSpPr>
              <a:spLocks noGrp="1" noRot="1" noMove="1" noResize="1" noEditPoints="1" noAdjustHandles="1" noChangeArrowheads="1" noChangeShapeType="1"/>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 name="Freeform: Shape 5">
              <a:extLst>
                <a:ext uri="{FF2B5EF4-FFF2-40B4-BE49-F238E27FC236}">
                  <a16:creationId xmlns:a16="http://schemas.microsoft.com/office/drawing/2014/main" id="{5C800AC1-6D04-0E15-D7E7-0B26F2352DB5}"/>
                </a:ext>
              </a:extLst>
            </p:cNvPr>
            <p:cNvSpPr>
              <a:spLocks noGrp="1" noRot="1" noMove="1" noResize="1" noEditPoints="1" noAdjustHandles="1" noChangeArrowheads="1" noChangeShapeType="1"/>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 name="Freeform: Shape 6">
              <a:extLst>
                <a:ext uri="{FF2B5EF4-FFF2-40B4-BE49-F238E27FC236}">
                  <a16:creationId xmlns:a16="http://schemas.microsoft.com/office/drawing/2014/main" id="{54C2DFCE-D1AE-F568-2045-D2E3532253A1}"/>
                </a:ext>
              </a:extLst>
            </p:cNvPr>
            <p:cNvSpPr>
              <a:spLocks noGrp="1" noRot="1" noMove="1" noResize="1" noEditPoints="1" noAdjustHandles="1" noChangeArrowheads="1" noChangeShapeType="1"/>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 name="Freeform: Shape 7">
              <a:extLst>
                <a:ext uri="{FF2B5EF4-FFF2-40B4-BE49-F238E27FC236}">
                  <a16:creationId xmlns:a16="http://schemas.microsoft.com/office/drawing/2014/main" id="{B68A3046-4E87-67C7-FC6D-32716E10A2DE}"/>
                </a:ext>
              </a:extLst>
            </p:cNvPr>
            <p:cNvSpPr>
              <a:spLocks noGrp="1" noRot="1" noMove="1" noResize="1" noEditPoints="1" noAdjustHandles="1" noChangeArrowheads="1" noChangeShapeType="1"/>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 name="Freeform: Shape 8">
              <a:extLst>
                <a:ext uri="{FF2B5EF4-FFF2-40B4-BE49-F238E27FC236}">
                  <a16:creationId xmlns:a16="http://schemas.microsoft.com/office/drawing/2014/main" id="{BA180481-87DC-60CC-0EB4-1B3E51F874E4}"/>
                </a:ext>
              </a:extLst>
            </p:cNvPr>
            <p:cNvSpPr>
              <a:spLocks noGrp="1" noRot="1" noMove="1" noResize="1" noEditPoints="1" noAdjustHandles="1" noChangeArrowheads="1" noChangeShapeType="1"/>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 name="Freeform: Shape 9">
              <a:extLst>
                <a:ext uri="{FF2B5EF4-FFF2-40B4-BE49-F238E27FC236}">
                  <a16:creationId xmlns:a16="http://schemas.microsoft.com/office/drawing/2014/main" id="{04B995B1-C86D-09AE-7C9F-B6AEF9A1FA67}"/>
                </a:ext>
              </a:extLst>
            </p:cNvPr>
            <p:cNvSpPr>
              <a:spLocks noGrp="1" noRot="1" noMove="1" noResize="1" noEditPoints="1" noAdjustHandles="1" noChangeArrowheads="1" noChangeShapeType="1"/>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 name="Freeform: Shape 10">
              <a:extLst>
                <a:ext uri="{FF2B5EF4-FFF2-40B4-BE49-F238E27FC236}">
                  <a16:creationId xmlns:a16="http://schemas.microsoft.com/office/drawing/2014/main" id="{F319EF8E-ABA2-A5A4-6C12-FBA5D3397E11}"/>
                </a:ext>
              </a:extLst>
            </p:cNvPr>
            <p:cNvSpPr>
              <a:spLocks noGrp="1" noRot="1" noMove="1" noResize="1" noEditPoints="1" noAdjustHandles="1" noChangeArrowheads="1" noChangeShapeType="1"/>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2" name="Freeform: Shape 11">
              <a:extLst>
                <a:ext uri="{FF2B5EF4-FFF2-40B4-BE49-F238E27FC236}">
                  <a16:creationId xmlns:a16="http://schemas.microsoft.com/office/drawing/2014/main" id="{560FDBA2-A2F7-9D62-E5EA-3EBA04D50B05}"/>
                </a:ext>
              </a:extLst>
            </p:cNvPr>
            <p:cNvSpPr>
              <a:spLocks noGrp="1" noRot="1" noMove="1" noResize="1" noEditPoints="1" noAdjustHandles="1" noChangeArrowheads="1" noChangeShapeType="1"/>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 name="Freeform: Shape 12">
              <a:extLst>
                <a:ext uri="{FF2B5EF4-FFF2-40B4-BE49-F238E27FC236}">
                  <a16:creationId xmlns:a16="http://schemas.microsoft.com/office/drawing/2014/main" id="{CD60F4C0-A798-4C9C-D500-292789E8454C}"/>
                </a:ext>
              </a:extLst>
            </p:cNvPr>
            <p:cNvSpPr>
              <a:spLocks noGrp="1" noRot="1" noMove="1" noResize="1" noEditPoints="1" noAdjustHandles="1" noChangeArrowheads="1" noChangeShapeType="1"/>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 name="Freeform: Shape 13">
              <a:extLst>
                <a:ext uri="{FF2B5EF4-FFF2-40B4-BE49-F238E27FC236}">
                  <a16:creationId xmlns:a16="http://schemas.microsoft.com/office/drawing/2014/main" id="{1BE2448B-5F48-3BC4-A181-DC8C2B3E0562}"/>
                </a:ext>
              </a:extLst>
            </p:cNvPr>
            <p:cNvSpPr>
              <a:spLocks noGrp="1" noRot="1" noMove="1" noResize="1" noEditPoints="1" noAdjustHandles="1" noChangeArrowheads="1" noChangeShapeType="1"/>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 name="Freeform: Shape 14">
              <a:extLst>
                <a:ext uri="{FF2B5EF4-FFF2-40B4-BE49-F238E27FC236}">
                  <a16:creationId xmlns:a16="http://schemas.microsoft.com/office/drawing/2014/main" id="{0C6F739F-FD90-D6B1-FF74-D2BA4B5C0895}"/>
                </a:ext>
              </a:extLst>
            </p:cNvPr>
            <p:cNvSpPr>
              <a:spLocks noGrp="1" noRot="1" noMove="1" noResize="1" noEditPoints="1" noAdjustHandles="1" noChangeArrowheads="1" noChangeShapeType="1"/>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 name="Freeform: Shape 15">
              <a:extLst>
                <a:ext uri="{FF2B5EF4-FFF2-40B4-BE49-F238E27FC236}">
                  <a16:creationId xmlns:a16="http://schemas.microsoft.com/office/drawing/2014/main" id="{4FB9915E-C544-8357-FD6E-C8E265D2DEFF}"/>
                </a:ext>
              </a:extLst>
            </p:cNvPr>
            <p:cNvSpPr>
              <a:spLocks noGrp="1" noRot="1" noMove="1" noResize="1" noEditPoints="1" noAdjustHandles="1" noChangeArrowheads="1" noChangeShapeType="1"/>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CAFDD315-1458-9278-4CF9-455C8D76E0B4}"/>
                </a:ext>
              </a:extLst>
            </p:cNvPr>
            <p:cNvSpPr>
              <a:spLocks noGrp="1" noRot="1" noMove="1" noResize="1" noEditPoints="1" noAdjustHandles="1" noChangeArrowheads="1" noChangeShapeType="1"/>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CADAF5EA-08EC-2875-332F-35093B3E20CD}"/>
                </a:ext>
              </a:extLst>
            </p:cNvPr>
            <p:cNvSpPr>
              <a:spLocks noGrp="1" noRot="1" noMove="1" noResize="1" noEditPoints="1" noAdjustHandles="1" noChangeArrowheads="1" noChangeShapeType="1"/>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94B8E17F-F39C-BD3A-3507-7ADD9921096D}"/>
                </a:ext>
              </a:extLst>
            </p:cNvPr>
            <p:cNvSpPr>
              <a:spLocks noGrp="1" noRot="1" noMove="1" noResize="1" noEditPoints="1" noAdjustHandles="1" noChangeArrowheads="1" noChangeShapeType="1"/>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7BCDCB05-186C-9517-40AA-C640B1F3B36E}"/>
                </a:ext>
              </a:extLst>
            </p:cNvPr>
            <p:cNvSpPr>
              <a:spLocks noGrp="1" noRot="1" noMove="1" noResize="1" noEditPoints="1" noAdjustHandles="1" noChangeArrowheads="1" noChangeShapeType="1"/>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057355A1-4292-516E-FF74-90D04C993ACF}"/>
                </a:ext>
              </a:extLst>
            </p:cNvPr>
            <p:cNvSpPr>
              <a:spLocks noGrp="1" noRot="1" noMove="1" noResize="1" noEditPoints="1" noAdjustHandles="1" noChangeArrowheads="1" noChangeShapeType="1"/>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E5F07B47-7C21-B9DC-016B-826E659CD91B}"/>
                </a:ext>
              </a:extLst>
            </p:cNvPr>
            <p:cNvSpPr>
              <a:spLocks noGrp="1" noRot="1" noMove="1" noResize="1" noEditPoints="1" noAdjustHandles="1" noChangeArrowheads="1" noChangeShapeType="1"/>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6DC892BB-2CA9-3AA1-4DFC-2935051A607D}"/>
                </a:ext>
              </a:extLst>
            </p:cNvPr>
            <p:cNvSpPr>
              <a:spLocks noGrp="1" noRot="1" noMove="1" noResize="1" noEditPoints="1" noAdjustHandles="1" noChangeArrowheads="1" noChangeShapeType="1"/>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89A9CE13-E980-BDE6-AEB6-5F93602ECDCF}"/>
                </a:ext>
              </a:extLst>
            </p:cNvPr>
            <p:cNvSpPr>
              <a:spLocks noGrp="1" noRot="1" noMove="1" noResize="1" noEditPoints="1" noAdjustHandles="1" noChangeArrowheads="1" noChangeShapeType="1"/>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11E3D8F-9E94-44B7-5A0F-DA8BA84C72A3}"/>
                </a:ext>
              </a:extLst>
            </p:cNvPr>
            <p:cNvSpPr>
              <a:spLocks noGrp="1" noRot="1" noMove="1" noResize="1" noEditPoints="1" noAdjustHandles="1" noChangeArrowheads="1" noChangeShapeType="1"/>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AD05C2CB-2010-2A91-A83D-74EC00C257E5}"/>
                </a:ext>
              </a:extLst>
            </p:cNvPr>
            <p:cNvSpPr>
              <a:spLocks noGrp="1" noRot="1" noMove="1" noResize="1" noEditPoints="1" noAdjustHandles="1" noChangeArrowheads="1" noChangeShapeType="1"/>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A724FA6-FDC4-D0D4-A206-675D16E2E799}"/>
                </a:ext>
              </a:extLst>
            </p:cNvPr>
            <p:cNvSpPr>
              <a:spLocks noGrp="1" noRot="1" noMove="1" noResize="1" noEditPoints="1" noAdjustHandles="1" noChangeArrowheads="1" noChangeShapeType="1"/>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9EE66EE4-2EE1-141F-7C77-F6E2AB556557}"/>
                </a:ext>
              </a:extLst>
            </p:cNvPr>
            <p:cNvSpPr>
              <a:spLocks noGrp="1" noRot="1" noMove="1" noResize="1" noEditPoints="1" noAdjustHandles="1" noChangeArrowheads="1" noChangeShapeType="1"/>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0D6CFDC-D0C2-678C-0040-44BB4FD7FBAF}"/>
                </a:ext>
              </a:extLst>
            </p:cNvPr>
            <p:cNvSpPr>
              <a:spLocks noGrp="1" noRot="1" noMove="1" noResize="1" noEditPoints="1" noAdjustHandles="1" noChangeArrowheads="1" noChangeShapeType="1"/>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DFF8CE51-317C-C389-60B6-797DDA4492B7}"/>
                </a:ext>
              </a:extLst>
            </p:cNvPr>
            <p:cNvSpPr>
              <a:spLocks noGrp="1" noRot="1" noMove="1" noResize="1" noEditPoints="1" noAdjustHandles="1" noChangeArrowheads="1" noChangeShapeType="1"/>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56E8A70E-C056-6B13-7A7A-46A00C5A2A5B}"/>
                </a:ext>
              </a:extLst>
            </p:cNvPr>
            <p:cNvSpPr>
              <a:spLocks noGrp="1" noRot="1" noMove="1" noResize="1" noEditPoints="1" noAdjustHandles="1" noChangeArrowheads="1" noChangeShapeType="1"/>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9C8A9C4A-61B7-EBD3-1EA4-7B86B74A70D8}"/>
                </a:ext>
              </a:extLst>
            </p:cNvPr>
            <p:cNvSpPr>
              <a:spLocks noGrp="1" noRot="1" noMove="1" noResize="1" noEditPoints="1" noAdjustHandles="1" noChangeArrowheads="1" noChangeShapeType="1"/>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907895E9-527B-E3F1-BD24-FACC1E3EDB78}"/>
                </a:ext>
              </a:extLst>
            </p:cNvPr>
            <p:cNvSpPr>
              <a:spLocks noGrp="1" noRot="1" noMove="1" noResize="1" noEditPoints="1" noAdjustHandles="1" noChangeArrowheads="1" noChangeShapeType="1"/>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DF9AFF0-538F-42DD-852A-BCBFBF5D0BB9}"/>
                </a:ext>
              </a:extLst>
            </p:cNvPr>
            <p:cNvSpPr>
              <a:spLocks noGrp="1" noRot="1" noMove="1" noResize="1" noEditPoints="1" noAdjustHandles="1" noChangeArrowheads="1" noChangeShapeType="1"/>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88B84CFA-8722-BF4D-E865-04F9553BA867}"/>
                </a:ext>
              </a:extLst>
            </p:cNvPr>
            <p:cNvSpPr>
              <a:spLocks noGrp="1" noRot="1" noMove="1" noResize="1" noEditPoints="1" noAdjustHandles="1" noChangeArrowheads="1" noChangeShapeType="1"/>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27E513F5-3AAB-BA54-E3C6-08C35BEC79D7}"/>
                </a:ext>
              </a:extLst>
            </p:cNvPr>
            <p:cNvSpPr>
              <a:spLocks noGrp="1" noRot="1" noMove="1" noResize="1" noEditPoints="1" noAdjustHandles="1" noChangeArrowheads="1" noChangeShapeType="1"/>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3C9876BD-DB02-4363-9E5F-89C366317CED}"/>
                </a:ext>
              </a:extLst>
            </p:cNvPr>
            <p:cNvSpPr>
              <a:spLocks noGrp="1" noRot="1" noMove="1" noResize="1" noEditPoints="1" noAdjustHandles="1" noChangeArrowheads="1" noChangeShapeType="1"/>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B2349602-1592-95FC-E0EC-F4EB383FAF9B}"/>
                </a:ext>
              </a:extLst>
            </p:cNvPr>
            <p:cNvSpPr>
              <a:spLocks noGrp="1" noRot="1" noMove="1" noResize="1" noEditPoints="1" noAdjustHandles="1" noChangeArrowheads="1" noChangeShapeType="1"/>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47AE2A33-D595-2C6D-A081-E4727B5B65D3}"/>
                </a:ext>
              </a:extLst>
            </p:cNvPr>
            <p:cNvSpPr>
              <a:spLocks noGrp="1" noRot="1" noMove="1" noResize="1" noEditPoints="1" noAdjustHandles="1" noChangeArrowheads="1" noChangeShapeType="1"/>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8229472F-9DC6-70A0-1D25-39EFFDA82B8F}"/>
                </a:ext>
              </a:extLst>
            </p:cNvPr>
            <p:cNvSpPr>
              <a:spLocks noGrp="1" noRot="1" noMove="1" noResize="1" noEditPoints="1" noAdjustHandles="1" noChangeArrowheads="1" noChangeShapeType="1"/>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0D427E41-CF33-3758-8DAE-2FFEAF031F7C}"/>
                </a:ext>
              </a:extLst>
            </p:cNvPr>
            <p:cNvSpPr>
              <a:spLocks noGrp="1" noRot="1" noMove="1" noResize="1" noEditPoints="1" noAdjustHandles="1" noChangeArrowheads="1" noChangeShapeType="1"/>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2A360893-D263-523E-DCED-C51FD69FC0DA}"/>
                </a:ext>
              </a:extLst>
            </p:cNvPr>
            <p:cNvSpPr>
              <a:spLocks noGrp="1" noRot="1" noMove="1" noResize="1" noEditPoints="1" noAdjustHandles="1" noChangeArrowheads="1" noChangeShapeType="1"/>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C74FB631-2F11-0535-D822-7FCDFE1624DD}"/>
                </a:ext>
              </a:extLst>
            </p:cNvPr>
            <p:cNvSpPr>
              <a:spLocks noGrp="1" noRot="1" noMove="1" noResize="1" noEditPoints="1" noAdjustHandles="1" noChangeArrowheads="1" noChangeShapeType="1"/>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7E662AB4-3AFA-1566-F7A6-9BF243D5E561}"/>
                </a:ext>
              </a:extLst>
            </p:cNvPr>
            <p:cNvSpPr>
              <a:spLocks noGrp="1" noRot="1" noMove="1" noResize="1" noEditPoints="1" noAdjustHandles="1" noChangeArrowheads="1" noChangeShapeType="1"/>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21E5379A-2070-C989-CD7B-4E7BF6334163}"/>
                </a:ext>
              </a:extLst>
            </p:cNvPr>
            <p:cNvSpPr>
              <a:spLocks noGrp="1" noRot="1" noMove="1" noResize="1" noEditPoints="1" noAdjustHandles="1" noChangeArrowheads="1" noChangeShapeType="1"/>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5C70D20-7C28-E8DA-CD85-31787BB92D84}"/>
                </a:ext>
              </a:extLst>
            </p:cNvPr>
            <p:cNvSpPr>
              <a:spLocks noGrp="1" noRot="1" noMove="1" noResize="1" noEditPoints="1" noAdjustHandles="1" noChangeArrowheads="1" noChangeShapeType="1"/>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05D4E967-05D9-4A49-8E0D-F2964C83DB76}"/>
                </a:ext>
              </a:extLst>
            </p:cNvPr>
            <p:cNvSpPr>
              <a:spLocks noGrp="1" noRot="1" noMove="1" noResize="1" noEditPoints="1" noAdjustHandles="1" noChangeArrowheads="1" noChangeShapeType="1"/>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D55A9D37-0F32-71AB-78F8-164055760C5C}"/>
                </a:ext>
              </a:extLst>
            </p:cNvPr>
            <p:cNvSpPr>
              <a:spLocks noGrp="1" noRot="1" noMove="1" noResize="1" noEditPoints="1" noAdjustHandles="1" noChangeArrowheads="1" noChangeShapeType="1"/>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3EC56F55-90C5-C1A8-7EBE-31EA437EA4D3}"/>
                </a:ext>
              </a:extLst>
            </p:cNvPr>
            <p:cNvSpPr>
              <a:spLocks noGrp="1" noRot="1" noMove="1" noResize="1" noEditPoints="1" noAdjustHandles="1" noChangeArrowheads="1" noChangeShapeType="1"/>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737DCCCA-9164-661A-6B24-467CB516933F}"/>
                </a:ext>
              </a:extLst>
            </p:cNvPr>
            <p:cNvSpPr>
              <a:spLocks noGrp="1" noRot="1" noMove="1" noResize="1" noEditPoints="1" noAdjustHandles="1" noChangeArrowheads="1" noChangeShapeType="1"/>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1AA3E843-BA32-11A4-2772-D0CFC6753D4D}"/>
                </a:ext>
              </a:extLst>
            </p:cNvPr>
            <p:cNvSpPr>
              <a:spLocks noGrp="1" noRot="1" noMove="1" noResize="1" noEditPoints="1" noAdjustHandles="1" noChangeArrowheads="1" noChangeShapeType="1"/>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BAFA06B-3A71-E051-CB73-90A5F1DA7CFB}"/>
                </a:ext>
              </a:extLst>
            </p:cNvPr>
            <p:cNvSpPr>
              <a:spLocks noGrp="1" noRot="1" noMove="1" noResize="1" noEditPoints="1" noAdjustHandles="1" noChangeArrowheads="1" noChangeShapeType="1"/>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F7DD9422-77C0-7FD8-66F7-8789DCEDBF87}"/>
                </a:ext>
              </a:extLst>
            </p:cNvPr>
            <p:cNvSpPr>
              <a:spLocks noGrp="1" noRot="1" noMove="1" noResize="1" noEditPoints="1" noAdjustHandles="1" noChangeArrowheads="1" noChangeShapeType="1"/>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CDAE5A93-EA9C-E247-6499-C9794DB13489}"/>
                </a:ext>
              </a:extLst>
            </p:cNvPr>
            <p:cNvSpPr>
              <a:spLocks noGrp="1" noRot="1" noMove="1" noResize="1" noEditPoints="1" noAdjustHandles="1" noChangeArrowheads="1" noChangeShapeType="1"/>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2A9B8EEC-A013-1285-944F-A37DEB5825C0}"/>
                </a:ext>
              </a:extLst>
            </p:cNvPr>
            <p:cNvSpPr>
              <a:spLocks noGrp="1" noRot="1" noMove="1" noResize="1" noEditPoints="1" noAdjustHandles="1" noChangeArrowheads="1" noChangeShapeType="1"/>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EB750D8C-725F-9E26-147F-959765E9CAF9}"/>
                </a:ext>
              </a:extLst>
            </p:cNvPr>
            <p:cNvSpPr>
              <a:spLocks noGrp="1" noRot="1" noMove="1" noResize="1" noEditPoints="1" noAdjustHandles="1" noChangeArrowheads="1" noChangeShapeType="1"/>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6884A303-9D71-C709-05C8-1515F7330E9B}"/>
                </a:ext>
              </a:extLst>
            </p:cNvPr>
            <p:cNvSpPr>
              <a:spLocks noGrp="1" noRot="1" noMove="1" noResize="1" noEditPoints="1" noAdjustHandles="1" noChangeArrowheads="1" noChangeShapeType="1"/>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FD03D4C9-1812-DD4A-71D4-5A10BBC53402}"/>
                </a:ext>
              </a:extLst>
            </p:cNvPr>
            <p:cNvSpPr>
              <a:spLocks noGrp="1" noRot="1" noMove="1" noResize="1" noEditPoints="1" noAdjustHandles="1" noChangeArrowheads="1" noChangeShapeType="1"/>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F073DA85-D3DB-9840-4576-3F90AC3A2A5A}"/>
                </a:ext>
              </a:extLst>
            </p:cNvPr>
            <p:cNvSpPr>
              <a:spLocks noGrp="1" noRot="1" noMove="1" noResize="1" noEditPoints="1" noAdjustHandles="1" noChangeArrowheads="1" noChangeShapeType="1"/>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F8FBAF4A-035C-8BB2-6424-A55F6AF9D0D0}"/>
                </a:ext>
              </a:extLst>
            </p:cNvPr>
            <p:cNvSpPr>
              <a:spLocks noGrp="1" noRot="1" noMove="1" noResize="1" noEditPoints="1" noAdjustHandles="1" noChangeArrowheads="1" noChangeShapeType="1"/>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6FC41C8E-F238-8658-2D46-C4ECEF47986F}"/>
                </a:ext>
              </a:extLst>
            </p:cNvPr>
            <p:cNvSpPr>
              <a:spLocks noGrp="1" noRot="1" noMove="1" noResize="1" noEditPoints="1" noAdjustHandles="1" noChangeArrowheads="1" noChangeShapeType="1"/>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D7AF2D12-E059-A43A-6A46-6C8E27A7DDA7}"/>
                </a:ext>
              </a:extLst>
            </p:cNvPr>
            <p:cNvSpPr>
              <a:spLocks noGrp="1" noRot="1" noMove="1" noResize="1" noEditPoints="1" noAdjustHandles="1" noChangeArrowheads="1" noChangeShapeType="1"/>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CC960CE5-06C4-73AD-AFDA-D5319E64D665}"/>
                </a:ext>
              </a:extLst>
            </p:cNvPr>
            <p:cNvSpPr>
              <a:spLocks noGrp="1" noRot="1" noMove="1" noResize="1" noEditPoints="1" noAdjustHandles="1" noChangeArrowheads="1" noChangeShapeType="1"/>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C1D660B8-1B0D-62DC-37A2-C980F9C86631}"/>
                </a:ext>
              </a:extLst>
            </p:cNvPr>
            <p:cNvSpPr>
              <a:spLocks noGrp="1" noRot="1" noMove="1" noResize="1" noEditPoints="1" noAdjustHandles="1" noChangeArrowheads="1" noChangeShapeType="1"/>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23EBC772-F8DF-3507-BAAB-F751D9DD39AC}"/>
                </a:ext>
              </a:extLst>
            </p:cNvPr>
            <p:cNvSpPr>
              <a:spLocks noGrp="1" noRot="1" noMove="1" noResize="1" noEditPoints="1" noAdjustHandles="1" noChangeArrowheads="1" noChangeShapeType="1"/>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A07A5405-5004-BC9D-8DA9-55CECEEA4CAB}"/>
                </a:ext>
              </a:extLst>
            </p:cNvPr>
            <p:cNvSpPr>
              <a:spLocks noGrp="1" noRot="1" noMove="1" noResize="1" noEditPoints="1" noAdjustHandles="1" noChangeArrowheads="1" noChangeShapeType="1"/>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66E65A34-F69F-0B89-C058-B1D331BD6DD5}"/>
                </a:ext>
              </a:extLst>
            </p:cNvPr>
            <p:cNvSpPr>
              <a:spLocks noGrp="1" noRot="1" noMove="1" noResize="1" noEditPoints="1" noAdjustHandles="1" noChangeArrowheads="1" noChangeShapeType="1"/>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F38CAADC-2E90-3A9D-2D19-C4B5B7590CAC}"/>
                </a:ext>
              </a:extLst>
            </p:cNvPr>
            <p:cNvSpPr>
              <a:spLocks noGrp="1" noRot="1" noMove="1" noResize="1" noEditPoints="1" noAdjustHandles="1" noChangeArrowheads="1" noChangeShapeType="1"/>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2E3F28A2-935B-92F5-1F97-C86243B1A5DE}"/>
                </a:ext>
              </a:extLst>
            </p:cNvPr>
            <p:cNvSpPr>
              <a:spLocks noGrp="1" noRot="1" noMove="1" noResize="1" noEditPoints="1" noAdjustHandles="1" noChangeArrowheads="1" noChangeShapeType="1"/>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042120-95CC-2B21-5BA0-096640F68A2F}"/>
                </a:ext>
              </a:extLst>
            </p:cNvPr>
            <p:cNvSpPr>
              <a:spLocks noGrp="1" noRot="1" noMove="1" noResize="1" noEditPoints="1" noAdjustHandles="1" noChangeArrowheads="1" noChangeShapeType="1"/>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2E376B2-9254-483B-B3BC-0C0D082AC5AB}"/>
                </a:ext>
              </a:extLst>
            </p:cNvPr>
            <p:cNvSpPr>
              <a:spLocks noGrp="1" noRot="1" noMove="1" noResize="1" noEditPoints="1" noAdjustHandles="1" noChangeArrowheads="1" noChangeShapeType="1"/>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504152E0-6880-FDA5-0E2F-8A41FFB1C7D8}"/>
                </a:ext>
              </a:extLst>
            </p:cNvPr>
            <p:cNvSpPr>
              <a:spLocks noGrp="1" noRot="1" noMove="1" noResize="1" noEditPoints="1" noAdjustHandles="1" noChangeArrowheads="1" noChangeShapeType="1"/>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5C03B13D-7781-EB68-04E0-F0E8B39E82CF}"/>
                </a:ext>
              </a:extLst>
            </p:cNvPr>
            <p:cNvSpPr>
              <a:spLocks noGrp="1" noRot="1" noMove="1" noResize="1" noEditPoints="1" noAdjustHandles="1" noChangeArrowheads="1" noChangeShapeType="1"/>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8B2388EE-98AD-2466-B263-E0B3414E559C}"/>
                </a:ext>
              </a:extLst>
            </p:cNvPr>
            <p:cNvSpPr>
              <a:spLocks noGrp="1" noRot="1" noMove="1" noResize="1" noEditPoints="1" noAdjustHandles="1" noChangeArrowheads="1" noChangeShapeType="1"/>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3BE9A40F-B6F6-1AB7-345A-9F760B2BF004}"/>
                </a:ext>
              </a:extLst>
            </p:cNvPr>
            <p:cNvSpPr>
              <a:spLocks noGrp="1" noRot="1" noMove="1" noResize="1" noEditPoints="1" noAdjustHandles="1" noChangeArrowheads="1" noChangeShapeType="1"/>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AC2780B7-6117-E621-163C-EAB24012DA36}"/>
                </a:ext>
              </a:extLst>
            </p:cNvPr>
            <p:cNvSpPr>
              <a:spLocks noGrp="1" noRot="1" noMove="1" noResize="1" noEditPoints="1" noAdjustHandles="1" noChangeArrowheads="1" noChangeShapeType="1"/>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2A0A6990-15D1-C49A-B861-3896812B929F}"/>
                </a:ext>
              </a:extLst>
            </p:cNvPr>
            <p:cNvSpPr>
              <a:spLocks noGrp="1" noRot="1" noMove="1" noResize="1" noEditPoints="1" noAdjustHandles="1" noChangeArrowheads="1" noChangeShapeType="1"/>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4D5641B0-72E6-5116-69F4-2908216634AD}"/>
                </a:ext>
              </a:extLst>
            </p:cNvPr>
            <p:cNvSpPr>
              <a:spLocks noGrp="1" noRot="1" noMove="1" noResize="1" noEditPoints="1" noAdjustHandles="1" noChangeArrowheads="1" noChangeShapeType="1"/>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0B8429CA-3F74-29CB-47A2-C3ED3BEB245D}"/>
                </a:ext>
              </a:extLst>
            </p:cNvPr>
            <p:cNvSpPr>
              <a:spLocks noGrp="1" noRot="1" noMove="1" noResize="1" noEditPoints="1" noAdjustHandles="1" noChangeArrowheads="1" noChangeShapeType="1"/>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E26B9BFF-E2F8-7282-237F-BBF28E8B0260}"/>
                </a:ext>
              </a:extLst>
            </p:cNvPr>
            <p:cNvSpPr>
              <a:spLocks noGrp="1" noRot="1" noMove="1" noResize="1" noEditPoints="1" noAdjustHandles="1" noChangeArrowheads="1" noChangeShapeType="1"/>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168017DD-D5BD-306B-2403-6F412AF547E5}"/>
                </a:ext>
              </a:extLst>
            </p:cNvPr>
            <p:cNvSpPr>
              <a:spLocks noGrp="1" noRot="1" noMove="1" noResize="1" noEditPoints="1" noAdjustHandles="1" noChangeArrowheads="1" noChangeShapeType="1"/>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7EDA2694-2C8F-174A-3131-E341C38DC13D}"/>
                </a:ext>
              </a:extLst>
            </p:cNvPr>
            <p:cNvSpPr>
              <a:spLocks noGrp="1" noRot="1" noMove="1" noResize="1" noEditPoints="1" noAdjustHandles="1" noChangeArrowheads="1" noChangeShapeType="1"/>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202663BD-B3C2-980C-4CD2-CB3504B6785F}"/>
                </a:ext>
              </a:extLst>
            </p:cNvPr>
            <p:cNvSpPr>
              <a:spLocks noGrp="1" noRot="1" noMove="1" noResize="1" noEditPoints="1" noAdjustHandles="1" noChangeArrowheads="1" noChangeShapeType="1"/>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1018E2A4-AF65-9E63-D22C-8AB4E2B0F75E}"/>
                </a:ext>
              </a:extLst>
            </p:cNvPr>
            <p:cNvSpPr>
              <a:spLocks noGrp="1" noRot="1" noMove="1" noResize="1" noEditPoints="1" noAdjustHandles="1" noChangeArrowheads="1" noChangeShapeType="1"/>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A5BFF598-9FBE-C840-0D6C-B4A0762A4B3E}"/>
                </a:ext>
              </a:extLst>
            </p:cNvPr>
            <p:cNvSpPr>
              <a:spLocks noGrp="1" noRot="1" noMove="1" noResize="1" noEditPoints="1" noAdjustHandles="1" noChangeArrowheads="1" noChangeShapeType="1"/>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6BD151C2-BF23-0123-9FD2-231167EF6E3A}"/>
                </a:ext>
              </a:extLst>
            </p:cNvPr>
            <p:cNvSpPr>
              <a:spLocks noGrp="1" noRot="1" noMove="1" noResize="1" noEditPoints="1" noAdjustHandles="1" noChangeArrowheads="1" noChangeShapeType="1"/>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0FB8649B-DF77-850F-D1A5-10674DA8229B}"/>
                </a:ext>
              </a:extLst>
            </p:cNvPr>
            <p:cNvSpPr>
              <a:spLocks noGrp="1" noRot="1" noMove="1" noResize="1" noEditPoints="1" noAdjustHandles="1" noChangeArrowheads="1" noChangeShapeType="1"/>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5368C4B5-4DF5-D380-E850-54CA2A90D7E5}"/>
                </a:ext>
              </a:extLst>
            </p:cNvPr>
            <p:cNvSpPr>
              <a:spLocks noGrp="1" noRot="1" noMove="1" noResize="1" noEditPoints="1" noAdjustHandles="1" noChangeArrowheads="1" noChangeShapeType="1"/>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9BC6A4F-854C-68EF-C820-C4DD066360C2}"/>
                </a:ext>
              </a:extLst>
            </p:cNvPr>
            <p:cNvSpPr>
              <a:spLocks noGrp="1" noRot="1" noMove="1" noResize="1" noEditPoints="1" noAdjustHandles="1" noChangeArrowheads="1" noChangeShapeType="1"/>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6BF080D4-3C7E-5EBD-B85D-B624736D3A0B}"/>
                </a:ext>
              </a:extLst>
            </p:cNvPr>
            <p:cNvSpPr>
              <a:spLocks noGrp="1" noRot="1" noMove="1" noResize="1" noEditPoints="1" noAdjustHandles="1" noChangeArrowheads="1" noChangeShapeType="1"/>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18BEB113-E186-9AF5-382B-E6BD4508BD96}"/>
                </a:ext>
              </a:extLst>
            </p:cNvPr>
            <p:cNvSpPr>
              <a:spLocks noGrp="1" noRot="1" noMove="1" noResize="1" noEditPoints="1" noAdjustHandles="1" noChangeArrowheads="1" noChangeShapeType="1"/>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F99EB533-AA2E-1A23-1258-0C6B3EF521D9}"/>
                </a:ext>
              </a:extLst>
            </p:cNvPr>
            <p:cNvSpPr>
              <a:spLocks noGrp="1" noRot="1" noMove="1" noResize="1" noEditPoints="1" noAdjustHandles="1" noChangeArrowheads="1" noChangeShapeType="1"/>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A242AE7B-18FE-C59C-433C-D189561C7BEC}"/>
                </a:ext>
              </a:extLst>
            </p:cNvPr>
            <p:cNvSpPr>
              <a:spLocks noGrp="1" noRot="1" noMove="1" noResize="1" noEditPoints="1" noAdjustHandles="1" noChangeArrowheads="1" noChangeShapeType="1"/>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6BB4D8A3-26EF-105C-F62B-DA1EF08F70A2}"/>
                </a:ext>
              </a:extLst>
            </p:cNvPr>
            <p:cNvSpPr>
              <a:spLocks noGrp="1" noRot="1" noMove="1" noResize="1" noEditPoints="1" noAdjustHandles="1" noChangeArrowheads="1" noChangeShapeType="1"/>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48FD908D-41CD-F460-14A8-A3E86ABC8981}"/>
                </a:ext>
              </a:extLst>
            </p:cNvPr>
            <p:cNvSpPr>
              <a:spLocks noGrp="1" noRot="1" noMove="1" noResize="1" noEditPoints="1" noAdjustHandles="1" noChangeArrowheads="1" noChangeShapeType="1"/>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E5CD5982-B1BB-F05D-1129-D3375B9028A5}"/>
                </a:ext>
              </a:extLst>
            </p:cNvPr>
            <p:cNvSpPr>
              <a:spLocks noGrp="1" noRot="1" noMove="1" noResize="1" noEditPoints="1" noAdjustHandles="1" noChangeArrowheads="1" noChangeShapeType="1"/>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D2118FC6-12D5-7CF3-786A-2EAF9F34A522}"/>
                </a:ext>
              </a:extLst>
            </p:cNvPr>
            <p:cNvSpPr>
              <a:spLocks noGrp="1" noRot="1" noMove="1" noResize="1" noEditPoints="1" noAdjustHandles="1" noChangeArrowheads="1" noChangeShapeType="1"/>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0836221A-8D31-09C6-8668-F3CB2BDCACBD}"/>
                </a:ext>
              </a:extLst>
            </p:cNvPr>
            <p:cNvSpPr>
              <a:spLocks noGrp="1" noRot="1" noMove="1" noResize="1" noEditPoints="1" noAdjustHandles="1" noChangeArrowheads="1" noChangeShapeType="1"/>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6D32AD7A-075C-037D-17A8-E959EAB2194B}"/>
                </a:ext>
              </a:extLst>
            </p:cNvPr>
            <p:cNvSpPr>
              <a:spLocks noGrp="1" noRot="1" noMove="1" noResize="1" noEditPoints="1" noAdjustHandles="1" noChangeArrowheads="1" noChangeShapeType="1"/>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1F7E5AC0-4047-1C0E-B573-62F3FC2E4854}"/>
                </a:ext>
              </a:extLst>
            </p:cNvPr>
            <p:cNvSpPr>
              <a:spLocks noGrp="1" noRot="1" noMove="1" noResize="1" noEditPoints="1" noAdjustHandles="1" noChangeArrowheads="1" noChangeShapeType="1"/>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7B9CD6BB-CC27-392C-5D87-654F30E45E47}"/>
                </a:ext>
              </a:extLst>
            </p:cNvPr>
            <p:cNvSpPr>
              <a:spLocks noGrp="1" noRot="1" noMove="1" noResize="1" noEditPoints="1" noAdjustHandles="1" noChangeArrowheads="1" noChangeShapeType="1"/>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FC980C21-C85F-ABC6-F468-147554F8455E}"/>
                </a:ext>
              </a:extLst>
            </p:cNvPr>
            <p:cNvSpPr>
              <a:spLocks noGrp="1" noRot="1" noMove="1" noResize="1" noEditPoints="1" noAdjustHandles="1" noChangeArrowheads="1" noChangeShapeType="1"/>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4CB71F60-EDAB-BBBA-1471-82A51DEF2720}"/>
                </a:ext>
              </a:extLst>
            </p:cNvPr>
            <p:cNvSpPr>
              <a:spLocks noGrp="1" noRot="1" noMove="1" noResize="1" noEditPoints="1" noAdjustHandles="1" noChangeArrowheads="1" noChangeShapeType="1"/>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5B1C27CC-C313-BFA5-61A7-7B63C21455E1}"/>
                </a:ext>
              </a:extLst>
            </p:cNvPr>
            <p:cNvSpPr>
              <a:spLocks noGrp="1" noRot="1" noMove="1" noResize="1" noEditPoints="1" noAdjustHandles="1" noChangeArrowheads="1" noChangeShapeType="1"/>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68DF15BD-BEDC-E630-D84F-5ED86FE33A79}"/>
                </a:ext>
              </a:extLst>
            </p:cNvPr>
            <p:cNvSpPr>
              <a:spLocks noGrp="1" noRot="1" noMove="1" noResize="1" noEditPoints="1" noAdjustHandles="1" noChangeArrowheads="1" noChangeShapeType="1"/>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85D811F1-9950-3201-4DF1-D2FB09A7F048}"/>
                </a:ext>
              </a:extLst>
            </p:cNvPr>
            <p:cNvSpPr>
              <a:spLocks noGrp="1" noRot="1" noMove="1" noResize="1" noEditPoints="1" noAdjustHandles="1" noChangeArrowheads="1" noChangeShapeType="1"/>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0C502483-C545-3A30-5BCA-FF5B39075D6E}"/>
                </a:ext>
              </a:extLst>
            </p:cNvPr>
            <p:cNvSpPr>
              <a:spLocks noGrp="1" noRot="1" noMove="1" noResize="1" noEditPoints="1" noAdjustHandles="1" noChangeArrowheads="1" noChangeShapeType="1"/>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980131D4-6656-83E7-1C0E-A5914E3CB9AF}"/>
                </a:ext>
              </a:extLst>
            </p:cNvPr>
            <p:cNvSpPr>
              <a:spLocks noGrp="1" noRot="1" noMove="1" noResize="1" noEditPoints="1" noAdjustHandles="1" noChangeArrowheads="1" noChangeShapeType="1"/>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A1FCDAB4-2C42-3AE5-7B6A-7EE156020846}"/>
                </a:ext>
              </a:extLst>
            </p:cNvPr>
            <p:cNvSpPr>
              <a:spLocks noGrp="1" noRot="1" noMove="1" noResize="1" noEditPoints="1" noAdjustHandles="1" noChangeArrowheads="1" noChangeShapeType="1"/>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249D8C61-050E-15D1-444E-C4CB48473433}"/>
                </a:ext>
              </a:extLst>
            </p:cNvPr>
            <p:cNvSpPr>
              <a:spLocks noGrp="1" noRot="1" noMove="1" noResize="1" noEditPoints="1" noAdjustHandles="1" noChangeArrowheads="1" noChangeShapeType="1"/>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625B9BD8-C482-18C2-BFB3-0FDFD6C82610}"/>
                </a:ext>
              </a:extLst>
            </p:cNvPr>
            <p:cNvSpPr>
              <a:spLocks noGrp="1" noRot="1" noMove="1" noResize="1" noEditPoints="1" noAdjustHandles="1" noChangeArrowheads="1" noChangeShapeType="1"/>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DC90D9C6-7C46-7FFE-E503-1569710FDCB9}"/>
                </a:ext>
              </a:extLst>
            </p:cNvPr>
            <p:cNvSpPr>
              <a:spLocks noGrp="1" noRot="1" noMove="1" noResize="1" noEditPoints="1" noAdjustHandles="1" noChangeArrowheads="1" noChangeShapeType="1"/>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931B1506-2A2E-F66E-744A-83CC028D3CF3}"/>
                </a:ext>
              </a:extLst>
            </p:cNvPr>
            <p:cNvSpPr>
              <a:spLocks noGrp="1" noRot="1" noMove="1" noResize="1" noEditPoints="1" noAdjustHandles="1" noChangeArrowheads="1" noChangeShapeType="1"/>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8F803A79-7FC3-660C-F577-9C20D06DB623}"/>
                </a:ext>
              </a:extLst>
            </p:cNvPr>
            <p:cNvSpPr>
              <a:spLocks noGrp="1" noRot="1" noMove="1" noResize="1" noEditPoints="1" noAdjustHandles="1" noChangeArrowheads="1" noChangeShapeType="1"/>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18BBFC5D-CF17-6D23-CDE8-B886291F763C}"/>
                </a:ext>
              </a:extLst>
            </p:cNvPr>
            <p:cNvSpPr>
              <a:spLocks noGrp="1" noRot="1" noMove="1" noResize="1" noEditPoints="1" noAdjustHandles="1" noChangeArrowheads="1" noChangeShapeType="1"/>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AFEF1D44-D11F-2F71-2098-4961CC527563}"/>
                </a:ext>
              </a:extLst>
            </p:cNvPr>
            <p:cNvSpPr>
              <a:spLocks noGrp="1" noRot="1" noMove="1" noResize="1" noEditPoints="1" noAdjustHandles="1" noChangeArrowheads="1" noChangeShapeType="1"/>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363585C0-8405-F3F5-CEED-9AE931E3E474}"/>
                </a:ext>
              </a:extLst>
            </p:cNvPr>
            <p:cNvSpPr>
              <a:spLocks noGrp="1" noRot="1" noMove="1" noResize="1" noEditPoints="1" noAdjustHandles="1" noChangeArrowheads="1" noChangeShapeType="1"/>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9385949-0397-C3EF-95C8-7143504B80CC}"/>
                </a:ext>
              </a:extLst>
            </p:cNvPr>
            <p:cNvSpPr>
              <a:spLocks noGrp="1" noRot="1" noMove="1" noResize="1" noEditPoints="1" noAdjustHandles="1" noChangeArrowheads="1" noChangeShapeType="1"/>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7D31A654-FFBC-D274-C373-6F76FAD546AF}"/>
                </a:ext>
              </a:extLst>
            </p:cNvPr>
            <p:cNvSpPr>
              <a:spLocks noGrp="1" noRot="1" noMove="1" noResize="1" noEditPoints="1" noAdjustHandles="1" noChangeArrowheads="1" noChangeShapeType="1"/>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04CA9C1A-9FBC-925F-B776-C49CF561E1B2}"/>
                </a:ext>
              </a:extLst>
            </p:cNvPr>
            <p:cNvSpPr>
              <a:spLocks noGrp="1" noRot="1" noMove="1" noResize="1" noEditPoints="1" noAdjustHandles="1" noChangeArrowheads="1" noChangeShapeType="1"/>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2E81F1AF-442F-264E-550A-A415A0861694}"/>
                </a:ext>
              </a:extLst>
            </p:cNvPr>
            <p:cNvSpPr>
              <a:spLocks noGrp="1" noRot="1" noMove="1" noResize="1" noEditPoints="1" noAdjustHandles="1" noChangeArrowheads="1" noChangeShapeType="1"/>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954A9B9B-7FE4-3A8F-8FE1-8B1A6C8FC617}"/>
                </a:ext>
              </a:extLst>
            </p:cNvPr>
            <p:cNvSpPr>
              <a:spLocks noGrp="1" noRot="1" noMove="1" noResize="1" noEditPoints="1" noAdjustHandles="1" noChangeArrowheads="1" noChangeShapeType="1"/>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BE0EFA17-FB61-5F78-E138-31BF0AF2A6DC}"/>
                </a:ext>
              </a:extLst>
            </p:cNvPr>
            <p:cNvSpPr>
              <a:spLocks noGrp="1" noRot="1" noMove="1" noResize="1" noEditPoints="1" noAdjustHandles="1" noChangeArrowheads="1" noChangeShapeType="1"/>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F5ABA7AB-71A3-F6A6-2A95-FB5450474190}"/>
                </a:ext>
              </a:extLst>
            </p:cNvPr>
            <p:cNvSpPr>
              <a:spLocks noGrp="1" noRot="1" noMove="1" noResize="1" noEditPoints="1" noAdjustHandles="1" noChangeArrowheads="1" noChangeShapeType="1"/>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0B99F127-F375-FA5B-A98F-D0835C6CCCCA}"/>
                </a:ext>
              </a:extLst>
            </p:cNvPr>
            <p:cNvSpPr>
              <a:spLocks noGrp="1" noRot="1" noMove="1" noResize="1" noEditPoints="1" noAdjustHandles="1" noChangeArrowheads="1" noChangeShapeType="1"/>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00B90DE2-C1ED-8F65-ED8A-03385E9DB4B2}"/>
                </a:ext>
              </a:extLst>
            </p:cNvPr>
            <p:cNvSpPr>
              <a:spLocks noGrp="1" noRot="1" noMove="1" noResize="1" noEditPoints="1" noAdjustHandles="1" noChangeArrowheads="1" noChangeShapeType="1"/>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CCB1CC9E-A4F3-C3F8-B69F-64C2D6307547}"/>
                </a:ext>
              </a:extLst>
            </p:cNvPr>
            <p:cNvSpPr>
              <a:spLocks noGrp="1" noRot="1" noMove="1" noResize="1" noEditPoints="1" noAdjustHandles="1" noChangeArrowheads="1" noChangeShapeType="1"/>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D46F0F28-9014-F685-519F-628FFB987305}"/>
                </a:ext>
              </a:extLst>
            </p:cNvPr>
            <p:cNvSpPr>
              <a:spLocks noGrp="1" noRot="1" noMove="1" noResize="1" noEditPoints="1" noAdjustHandles="1" noChangeArrowheads="1" noChangeShapeType="1"/>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D085F86A-1E53-74D6-07F1-72C349383243}"/>
                </a:ext>
              </a:extLst>
            </p:cNvPr>
            <p:cNvSpPr>
              <a:spLocks noGrp="1" noRot="1" noMove="1" noResize="1" noEditPoints="1" noAdjustHandles="1" noChangeArrowheads="1" noChangeShapeType="1"/>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6E7AD6BC-5A56-5BE9-AF3D-24A2D8EAF95A}"/>
                </a:ext>
              </a:extLst>
            </p:cNvPr>
            <p:cNvSpPr>
              <a:spLocks noGrp="1" noRot="1" noMove="1" noResize="1" noEditPoints="1" noAdjustHandles="1" noChangeArrowheads="1" noChangeShapeType="1"/>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7C8C19E-D0AD-807D-EA7C-F9E043AA8D49}"/>
                </a:ext>
              </a:extLst>
            </p:cNvPr>
            <p:cNvSpPr>
              <a:spLocks noGrp="1" noRot="1" noMove="1" noResize="1" noEditPoints="1" noAdjustHandles="1" noChangeArrowheads="1" noChangeShapeType="1"/>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80B9D831-8E57-CBFE-3A3B-99711B5F874F}"/>
                </a:ext>
              </a:extLst>
            </p:cNvPr>
            <p:cNvSpPr>
              <a:spLocks noGrp="1" noRot="1" noMove="1" noResize="1" noEditPoints="1" noAdjustHandles="1" noChangeArrowheads="1" noChangeShapeType="1"/>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62206051-B586-5D90-4539-41F3E91CA0C9}"/>
                </a:ext>
              </a:extLst>
            </p:cNvPr>
            <p:cNvSpPr>
              <a:spLocks noGrp="1" noRot="1" noMove="1" noResize="1" noEditPoints="1" noAdjustHandles="1" noChangeArrowheads="1" noChangeShapeType="1"/>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5D605221-EDDF-66C1-CDED-F94403F0FC16}"/>
                </a:ext>
              </a:extLst>
            </p:cNvPr>
            <p:cNvSpPr>
              <a:spLocks noGrp="1" noRot="1" noMove="1" noResize="1" noEditPoints="1" noAdjustHandles="1" noChangeArrowheads="1" noChangeShapeType="1"/>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6D73E46C-7AD1-48FD-885C-5BE56905B176}"/>
                </a:ext>
              </a:extLst>
            </p:cNvPr>
            <p:cNvSpPr>
              <a:spLocks noGrp="1" noRot="1" noMove="1" noResize="1" noEditPoints="1" noAdjustHandles="1" noChangeArrowheads="1" noChangeShapeType="1"/>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EE2BC7A4-CF39-8CA8-3A0B-F236F23E709C}"/>
                </a:ext>
              </a:extLst>
            </p:cNvPr>
            <p:cNvSpPr>
              <a:spLocks noGrp="1" noRot="1" noMove="1" noResize="1" noEditPoints="1" noAdjustHandles="1" noChangeArrowheads="1" noChangeShapeType="1"/>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F702535F-18AA-61CE-82F8-4777788FAA00}"/>
                </a:ext>
              </a:extLst>
            </p:cNvPr>
            <p:cNvSpPr>
              <a:spLocks noGrp="1" noRot="1" noMove="1" noResize="1" noEditPoints="1" noAdjustHandles="1" noChangeArrowheads="1" noChangeShapeType="1"/>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CD760794-BDA8-D0AD-9552-CD3EB7B7E8E2}"/>
                </a:ext>
              </a:extLst>
            </p:cNvPr>
            <p:cNvSpPr>
              <a:spLocks noGrp="1" noRot="1" noMove="1" noResize="1" noEditPoints="1" noAdjustHandles="1" noChangeArrowheads="1" noChangeShapeType="1"/>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DFD3AE53-6D8C-69CC-C81C-89CA47F73CA6}"/>
                </a:ext>
              </a:extLst>
            </p:cNvPr>
            <p:cNvSpPr>
              <a:spLocks noGrp="1" noRot="1" noMove="1" noResize="1" noEditPoints="1" noAdjustHandles="1" noChangeArrowheads="1" noChangeShapeType="1"/>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915FB3E6-796C-1FC2-2BAC-0FE463C6391E}"/>
                </a:ext>
              </a:extLst>
            </p:cNvPr>
            <p:cNvSpPr>
              <a:spLocks noGrp="1" noRot="1" noMove="1" noResize="1" noEditPoints="1" noAdjustHandles="1" noChangeArrowheads="1" noChangeShapeType="1"/>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AD322BF1-85D6-2C7B-4C72-914AE02CC8FE}"/>
                </a:ext>
              </a:extLst>
            </p:cNvPr>
            <p:cNvSpPr>
              <a:spLocks noGrp="1" noRot="1" noMove="1" noResize="1" noEditPoints="1" noAdjustHandles="1" noChangeArrowheads="1" noChangeShapeType="1"/>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B6C67E24-49B2-A27C-1418-C9830427883E}"/>
                </a:ext>
              </a:extLst>
            </p:cNvPr>
            <p:cNvSpPr>
              <a:spLocks noGrp="1" noRot="1" noMove="1" noResize="1" noEditPoints="1" noAdjustHandles="1" noChangeArrowheads="1" noChangeShapeType="1"/>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F91DEE1B-E75A-E7AC-BE7D-C21B91930ADA}"/>
                </a:ext>
              </a:extLst>
            </p:cNvPr>
            <p:cNvSpPr>
              <a:spLocks noGrp="1" noRot="1" noMove="1" noResize="1" noEditPoints="1" noAdjustHandles="1" noChangeArrowheads="1" noChangeShapeType="1"/>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DAF4A113-80ED-8B25-47A5-5D36E686587E}"/>
                </a:ext>
              </a:extLst>
            </p:cNvPr>
            <p:cNvSpPr>
              <a:spLocks noGrp="1" noRot="1" noMove="1" noResize="1" noEditPoints="1" noAdjustHandles="1" noChangeArrowheads="1" noChangeShapeType="1"/>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B080D88E-BB90-AECB-5EDE-94E5707148DB}"/>
                </a:ext>
              </a:extLst>
            </p:cNvPr>
            <p:cNvSpPr>
              <a:spLocks noGrp="1" noRot="1" noMove="1" noResize="1" noEditPoints="1" noAdjustHandles="1" noChangeArrowheads="1" noChangeShapeType="1"/>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51B718CD-0BF8-F91A-51C6-35AE12A23E6D}"/>
                </a:ext>
              </a:extLst>
            </p:cNvPr>
            <p:cNvSpPr>
              <a:spLocks noGrp="1" noRot="1" noMove="1" noResize="1" noEditPoints="1" noAdjustHandles="1" noChangeArrowheads="1" noChangeShapeType="1"/>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E7685C16-D1FF-2BF1-5FC5-D9A51B3D8CA6}"/>
                </a:ext>
              </a:extLst>
            </p:cNvPr>
            <p:cNvSpPr>
              <a:spLocks noGrp="1" noRot="1" noMove="1" noResize="1" noEditPoints="1" noAdjustHandles="1" noChangeArrowheads="1" noChangeShapeType="1"/>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DAB23E6C-2460-E587-92E5-1A53E82A7B1A}"/>
                </a:ext>
              </a:extLst>
            </p:cNvPr>
            <p:cNvSpPr>
              <a:spLocks noGrp="1" noRot="1" noMove="1" noResize="1" noEditPoints="1" noAdjustHandles="1" noChangeArrowheads="1" noChangeShapeType="1"/>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grpSp>
      <p:sp>
        <p:nvSpPr>
          <p:cNvPr id="169" name="Picture Placeholder">
            <a:extLst>
              <a:ext uri="{FF2B5EF4-FFF2-40B4-BE49-F238E27FC236}">
                <a16:creationId xmlns:a16="http://schemas.microsoft.com/office/drawing/2014/main" id="{8CB3B60B-11F8-7BC2-B88F-08BA3BD81B64}"/>
              </a:ext>
            </a:extLst>
          </p:cNvPr>
          <p:cNvSpPr>
            <a:spLocks noGrp="1"/>
          </p:cNvSpPr>
          <p:nvPr>
            <p:ph type="pic" sz="quarter" idx="17"/>
          </p:nvPr>
        </p:nvSpPr>
        <p:spPr>
          <a:xfrm>
            <a:off x="7617885" y="1524000"/>
            <a:ext cx="3050116" cy="3048000"/>
          </a:xfrm>
          <a:solidFill>
            <a:schemeClr val="accent1"/>
          </a:solidFill>
        </p:spPr>
        <p:txBody>
          <a:bodyPr/>
          <a:lstStyle>
            <a:lvl1pPr>
              <a:defRPr>
                <a:noFill/>
              </a:defRPr>
            </a:lvl1pPr>
          </a:lstStyle>
          <a:p>
            <a:r>
              <a:rPr lang="fr-FR"/>
              <a:t>Cliquez sur l'icône pour ajouter une image</a:t>
            </a:r>
          </a:p>
        </p:txBody>
      </p:sp>
      <p:grpSp>
        <p:nvGrpSpPr>
          <p:cNvPr id="5" name="Logo">
            <a:extLst>
              <a:ext uri="{FF2B5EF4-FFF2-40B4-BE49-F238E27FC236}">
                <a16:creationId xmlns:a16="http://schemas.microsoft.com/office/drawing/2014/main" id="{83A1A177-CA63-21D9-0664-AA267E568B2D}"/>
              </a:ext>
            </a:extLst>
          </p:cNvPr>
          <p:cNvGrpSpPr>
            <a:grpSpLocks noGrp="1" noUngrp="1" noRot="1" noMove="1" noResize="1"/>
          </p:cNvGrpSpPr>
          <p:nvPr/>
        </p:nvGrpSpPr>
        <p:grpSpPr>
          <a:xfrm>
            <a:off x="768774" y="5329767"/>
            <a:ext cx="3626556" cy="762000"/>
            <a:chOff x="569913" y="4057650"/>
            <a:chExt cx="2447925" cy="514350"/>
          </a:xfrm>
        </p:grpSpPr>
        <p:sp>
          <p:nvSpPr>
            <p:cNvPr id="26" name="Freeform 5">
              <a:extLst>
                <a:ext uri="{FF2B5EF4-FFF2-40B4-BE49-F238E27FC236}">
                  <a16:creationId xmlns:a16="http://schemas.microsoft.com/office/drawing/2014/main" id="{1006C298-DB65-4F2B-A9EE-26B4473AF6EB}"/>
                </a:ext>
              </a:extLst>
            </p:cNvPr>
            <p:cNvSpPr>
              <a:spLocks noGrp="1" noRot="1" noMove="1" noResize="1" noEditPoints="1" noAdjustHandles="1" noChangeArrowheads="1" noChangeShapeType="1"/>
            </p:cNvSpPr>
            <p:nvPr/>
          </p:nvSpPr>
          <p:spPr bwMode="auto">
            <a:xfrm>
              <a:off x="1243013" y="4160838"/>
              <a:ext cx="257175" cy="307975"/>
            </a:xfrm>
            <a:custGeom>
              <a:avLst/>
              <a:gdLst>
                <a:gd name="T0" fmla="*/ 213 w 379"/>
                <a:gd name="T1" fmla="*/ 0 h 453"/>
                <a:gd name="T2" fmla="*/ 272 w 379"/>
                <a:gd name="T3" fmla="*/ 6 h 453"/>
                <a:gd name="T4" fmla="*/ 318 w 379"/>
                <a:gd name="T5" fmla="*/ 24 h 453"/>
                <a:gd name="T6" fmla="*/ 347 w 379"/>
                <a:gd name="T7" fmla="*/ 59 h 453"/>
                <a:gd name="T8" fmla="*/ 358 w 379"/>
                <a:gd name="T9" fmla="*/ 112 h 453"/>
                <a:gd name="T10" fmla="*/ 342 w 379"/>
                <a:gd name="T11" fmla="*/ 169 h 453"/>
                <a:gd name="T12" fmla="*/ 296 w 379"/>
                <a:gd name="T13" fmla="*/ 207 h 453"/>
                <a:gd name="T14" fmla="*/ 359 w 379"/>
                <a:gd name="T15" fmla="*/ 249 h 453"/>
                <a:gd name="T16" fmla="*/ 379 w 379"/>
                <a:gd name="T17" fmla="*/ 322 h 453"/>
                <a:gd name="T18" fmla="*/ 366 w 379"/>
                <a:gd name="T19" fmla="*/ 381 h 453"/>
                <a:gd name="T20" fmla="*/ 330 w 379"/>
                <a:gd name="T21" fmla="*/ 422 h 453"/>
                <a:gd name="T22" fmla="*/ 279 w 379"/>
                <a:gd name="T23" fmla="*/ 446 h 453"/>
                <a:gd name="T24" fmla="*/ 219 w 379"/>
                <a:gd name="T25" fmla="*/ 453 h 453"/>
                <a:gd name="T26" fmla="*/ 0 w 379"/>
                <a:gd name="T27" fmla="*/ 453 h 453"/>
                <a:gd name="T28" fmla="*/ 0 w 379"/>
                <a:gd name="T29" fmla="*/ 0 h 453"/>
                <a:gd name="T30" fmla="*/ 213 w 379"/>
                <a:gd name="T31" fmla="*/ 0 h 453"/>
                <a:gd name="T32" fmla="*/ 200 w 379"/>
                <a:gd name="T33" fmla="*/ 183 h 453"/>
                <a:gd name="T34" fmla="*/ 244 w 379"/>
                <a:gd name="T35" fmla="*/ 171 h 453"/>
                <a:gd name="T36" fmla="*/ 261 w 379"/>
                <a:gd name="T37" fmla="*/ 129 h 453"/>
                <a:gd name="T38" fmla="*/ 256 w 379"/>
                <a:gd name="T39" fmla="*/ 103 h 453"/>
                <a:gd name="T40" fmla="*/ 240 w 379"/>
                <a:gd name="T41" fmla="*/ 88 h 453"/>
                <a:gd name="T42" fmla="*/ 218 w 379"/>
                <a:gd name="T43" fmla="*/ 80 h 453"/>
                <a:gd name="T44" fmla="*/ 193 w 379"/>
                <a:gd name="T45" fmla="*/ 77 h 453"/>
                <a:gd name="T46" fmla="*/ 99 w 379"/>
                <a:gd name="T47" fmla="*/ 77 h 453"/>
                <a:gd name="T48" fmla="*/ 99 w 379"/>
                <a:gd name="T49" fmla="*/ 183 h 453"/>
                <a:gd name="T50" fmla="*/ 200 w 379"/>
                <a:gd name="T51" fmla="*/ 183 h 453"/>
                <a:gd name="T52" fmla="*/ 206 w 379"/>
                <a:gd name="T53" fmla="*/ 376 h 453"/>
                <a:gd name="T54" fmla="*/ 234 w 379"/>
                <a:gd name="T55" fmla="*/ 373 h 453"/>
                <a:gd name="T56" fmla="*/ 257 w 379"/>
                <a:gd name="T57" fmla="*/ 363 h 453"/>
                <a:gd name="T58" fmla="*/ 274 w 379"/>
                <a:gd name="T59" fmla="*/ 345 h 453"/>
                <a:gd name="T60" fmla="*/ 280 w 379"/>
                <a:gd name="T61" fmla="*/ 316 h 453"/>
                <a:gd name="T62" fmla="*/ 260 w 379"/>
                <a:gd name="T63" fmla="*/ 266 h 453"/>
                <a:gd name="T64" fmla="*/ 208 w 379"/>
                <a:gd name="T65" fmla="*/ 251 h 453"/>
                <a:gd name="T66" fmla="*/ 99 w 379"/>
                <a:gd name="T67" fmla="*/ 251 h 453"/>
                <a:gd name="T68" fmla="*/ 99 w 379"/>
                <a:gd name="T69" fmla="*/ 376 h 453"/>
                <a:gd name="T70" fmla="*/ 206 w 379"/>
                <a:gd name="T71" fmla="*/ 37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9" h="453">
                  <a:moveTo>
                    <a:pt x="213" y="0"/>
                  </a:moveTo>
                  <a:cubicBezTo>
                    <a:pt x="235" y="0"/>
                    <a:pt x="254" y="2"/>
                    <a:pt x="272" y="6"/>
                  </a:cubicBezTo>
                  <a:cubicBezTo>
                    <a:pt x="290" y="9"/>
                    <a:pt x="305" y="16"/>
                    <a:pt x="318" y="24"/>
                  </a:cubicBezTo>
                  <a:cubicBezTo>
                    <a:pt x="330" y="33"/>
                    <a:pt x="340" y="45"/>
                    <a:pt x="347" y="59"/>
                  </a:cubicBezTo>
                  <a:cubicBezTo>
                    <a:pt x="354" y="73"/>
                    <a:pt x="358" y="91"/>
                    <a:pt x="358" y="112"/>
                  </a:cubicBezTo>
                  <a:cubicBezTo>
                    <a:pt x="358" y="135"/>
                    <a:pt x="353" y="154"/>
                    <a:pt x="342" y="169"/>
                  </a:cubicBezTo>
                  <a:cubicBezTo>
                    <a:pt x="332" y="185"/>
                    <a:pt x="316" y="197"/>
                    <a:pt x="296" y="207"/>
                  </a:cubicBezTo>
                  <a:cubicBezTo>
                    <a:pt x="324" y="215"/>
                    <a:pt x="345" y="229"/>
                    <a:pt x="359" y="249"/>
                  </a:cubicBezTo>
                  <a:cubicBezTo>
                    <a:pt x="372" y="269"/>
                    <a:pt x="379" y="293"/>
                    <a:pt x="379" y="322"/>
                  </a:cubicBezTo>
                  <a:cubicBezTo>
                    <a:pt x="379" y="345"/>
                    <a:pt x="375" y="364"/>
                    <a:pt x="366" y="381"/>
                  </a:cubicBezTo>
                  <a:cubicBezTo>
                    <a:pt x="357" y="398"/>
                    <a:pt x="345" y="412"/>
                    <a:pt x="330" y="422"/>
                  </a:cubicBezTo>
                  <a:cubicBezTo>
                    <a:pt x="315" y="433"/>
                    <a:pt x="298" y="441"/>
                    <a:pt x="279" y="446"/>
                  </a:cubicBezTo>
                  <a:cubicBezTo>
                    <a:pt x="259" y="451"/>
                    <a:pt x="240" y="453"/>
                    <a:pt x="219" y="453"/>
                  </a:cubicBezTo>
                  <a:cubicBezTo>
                    <a:pt x="0" y="453"/>
                    <a:pt x="0" y="453"/>
                    <a:pt x="0" y="453"/>
                  </a:cubicBezTo>
                  <a:cubicBezTo>
                    <a:pt x="0" y="0"/>
                    <a:pt x="0" y="0"/>
                    <a:pt x="0" y="0"/>
                  </a:cubicBezTo>
                  <a:lnTo>
                    <a:pt x="213" y="0"/>
                  </a:lnTo>
                  <a:close/>
                  <a:moveTo>
                    <a:pt x="200" y="183"/>
                  </a:moveTo>
                  <a:cubicBezTo>
                    <a:pt x="218" y="183"/>
                    <a:pt x="233" y="179"/>
                    <a:pt x="244" y="171"/>
                  </a:cubicBezTo>
                  <a:cubicBezTo>
                    <a:pt x="256" y="162"/>
                    <a:pt x="261" y="149"/>
                    <a:pt x="261" y="129"/>
                  </a:cubicBezTo>
                  <a:cubicBezTo>
                    <a:pt x="261" y="119"/>
                    <a:pt x="259" y="110"/>
                    <a:pt x="256" y="103"/>
                  </a:cubicBezTo>
                  <a:cubicBezTo>
                    <a:pt x="252" y="97"/>
                    <a:pt x="247" y="91"/>
                    <a:pt x="240" y="88"/>
                  </a:cubicBezTo>
                  <a:cubicBezTo>
                    <a:pt x="234" y="84"/>
                    <a:pt x="227" y="81"/>
                    <a:pt x="218" y="80"/>
                  </a:cubicBezTo>
                  <a:cubicBezTo>
                    <a:pt x="210" y="78"/>
                    <a:pt x="202" y="77"/>
                    <a:pt x="193" y="77"/>
                  </a:cubicBezTo>
                  <a:cubicBezTo>
                    <a:pt x="99" y="77"/>
                    <a:pt x="99" y="77"/>
                    <a:pt x="99" y="77"/>
                  </a:cubicBezTo>
                  <a:cubicBezTo>
                    <a:pt x="99" y="183"/>
                    <a:pt x="99" y="183"/>
                    <a:pt x="99" y="183"/>
                  </a:cubicBezTo>
                  <a:lnTo>
                    <a:pt x="200" y="183"/>
                  </a:lnTo>
                  <a:close/>
                  <a:moveTo>
                    <a:pt x="206" y="376"/>
                  </a:moveTo>
                  <a:cubicBezTo>
                    <a:pt x="216" y="376"/>
                    <a:pt x="225" y="375"/>
                    <a:pt x="234" y="373"/>
                  </a:cubicBezTo>
                  <a:cubicBezTo>
                    <a:pt x="243" y="371"/>
                    <a:pt x="251" y="368"/>
                    <a:pt x="257" y="363"/>
                  </a:cubicBezTo>
                  <a:cubicBezTo>
                    <a:pt x="264" y="359"/>
                    <a:pt x="270" y="353"/>
                    <a:pt x="274" y="345"/>
                  </a:cubicBezTo>
                  <a:cubicBezTo>
                    <a:pt x="278" y="338"/>
                    <a:pt x="280" y="328"/>
                    <a:pt x="280" y="316"/>
                  </a:cubicBezTo>
                  <a:cubicBezTo>
                    <a:pt x="280" y="293"/>
                    <a:pt x="273" y="276"/>
                    <a:pt x="260" y="266"/>
                  </a:cubicBezTo>
                  <a:cubicBezTo>
                    <a:pt x="247" y="256"/>
                    <a:pt x="229" y="251"/>
                    <a:pt x="208" y="251"/>
                  </a:cubicBezTo>
                  <a:cubicBezTo>
                    <a:pt x="99" y="251"/>
                    <a:pt x="99" y="251"/>
                    <a:pt x="99" y="251"/>
                  </a:cubicBezTo>
                  <a:cubicBezTo>
                    <a:pt x="99" y="376"/>
                    <a:pt x="99" y="376"/>
                    <a:pt x="99" y="376"/>
                  </a:cubicBezTo>
                  <a:lnTo>
                    <a:pt x="206" y="37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7" name="Freeform 6">
              <a:extLst>
                <a:ext uri="{FF2B5EF4-FFF2-40B4-BE49-F238E27FC236}">
                  <a16:creationId xmlns:a16="http://schemas.microsoft.com/office/drawing/2014/main" id="{C413873F-B596-4126-9F0B-5B23ECE87820}"/>
                </a:ext>
              </a:extLst>
            </p:cNvPr>
            <p:cNvSpPr>
              <a:spLocks noGrp="1" noRot="1" noMove="1" noResize="1" noEditPoints="1" noAdjustHandles="1" noChangeArrowheads="1" noChangeShapeType="1"/>
            </p:cNvSpPr>
            <p:nvPr/>
          </p:nvSpPr>
          <p:spPr bwMode="auto">
            <a:xfrm>
              <a:off x="1531938" y="4244975"/>
              <a:ext cx="209550" cy="230188"/>
            </a:xfrm>
            <a:custGeom>
              <a:avLst/>
              <a:gdLst>
                <a:gd name="T0" fmla="*/ 222 w 308"/>
                <a:gd name="T1" fmla="*/ 328 h 337"/>
                <a:gd name="T2" fmla="*/ 222 w 308"/>
                <a:gd name="T3" fmla="*/ 283 h 337"/>
                <a:gd name="T4" fmla="*/ 220 w 308"/>
                <a:gd name="T5" fmla="*/ 283 h 337"/>
                <a:gd name="T6" fmla="*/ 176 w 308"/>
                <a:gd name="T7" fmla="*/ 324 h 337"/>
                <a:gd name="T8" fmla="*/ 120 w 308"/>
                <a:gd name="T9" fmla="*/ 337 h 337"/>
                <a:gd name="T10" fmla="*/ 61 w 308"/>
                <a:gd name="T11" fmla="*/ 327 h 337"/>
                <a:gd name="T12" fmla="*/ 24 w 308"/>
                <a:gd name="T13" fmla="*/ 300 h 337"/>
                <a:gd name="T14" fmla="*/ 5 w 308"/>
                <a:gd name="T15" fmla="*/ 257 h 337"/>
                <a:gd name="T16" fmla="*/ 0 w 308"/>
                <a:gd name="T17" fmla="*/ 202 h 337"/>
                <a:gd name="T18" fmla="*/ 0 w 308"/>
                <a:gd name="T19" fmla="*/ 0 h 337"/>
                <a:gd name="T20" fmla="*/ 90 w 308"/>
                <a:gd name="T21" fmla="*/ 0 h 337"/>
                <a:gd name="T22" fmla="*/ 90 w 308"/>
                <a:gd name="T23" fmla="*/ 185 h 337"/>
                <a:gd name="T24" fmla="*/ 103 w 308"/>
                <a:gd name="T25" fmla="*/ 246 h 337"/>
                <a:gd name="T26" fmla="*/ 148 w 308"/>
                <a:gd name="T27" fmla="*/ 266 h 337"/>
                <a:gd name="T28" fmla="*/ 201 w 308"/>
                <a:gd name="T29" fmla="*/ 244 h 337"/>
                <a:gd name="T30" fmla="*/ 218 w 308"/>
                <a:gd name="T31" fmla="*/ 172 h 337"/>
                <a:gd name="T32" fmla="*/ 218 w 308"/>
                <a:gd name="T33" fmla="*/ 0 h 337"/>
                <a:gd name="T34" fmla="*/ 308 w 308"/>
                <a:gd name="T35" fmla="*/ 0 h 337"/>
                <a:gd name="T36" fmla="*/ 308 w 308"/>
                <a:gd name="T37" fmla="*/ 328 h 337"/>
                <a:gd name="T38" fmla="*/ 222 w 308"/>
                <a:gd name="T39" fmla="*/ 32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37">
                  <a:moveTo>
                    <a:pt x="222" y="328"/>
                  </a:moveTo>
                  <a:cubicBezTo>
                    <a:pt x="222" y="283"/>
                    <a:pt x="222" y="283"/>
                    <a:pt x="222" y="283"/>
                  </a:cubicBezTo>
                  <a:cubicBezTo>
                    <a:pt x="220" y="283"/>
                    <a:pt x="220" y="283"/>
                    <a:pt x="220" y="283"/>
                  </a:cubicBezTo>
                  <a:cubicBezTo>
                    <a:pt x="209" y="302"/>
                    <a:pt x="194" y="315"/>
                    <a:pt x="176" y="324"/>
                  </a:cubicBezTo>
                  <a:cubicBezTo>
                    <a:pt x="158" y="332"/>
                    <a:pt x="139" y="337"/>
                    <a:pt x="120" y="337"/>
                  </a:cubicBezTo>
                  <a:cubicBezTo>
                    <a:pt x="96" y="337"/>
                    <a:pt x="76" y="333"/>
                    <a:pt x="61" y="327"/>
                  </a:cubicBezTo>
                  <a:cubicBezTo>
                    <a:pt x="45" y="321"/>
                    <a:pt x="33" y="312"/>
                    <a:pt x="24" y="300"/>
                  </a:cubicBezTo>
                  <a:cubicBezTo>
                    <a:pt x="15" y="288"/>
                    <a:pt x="9" y="274"/>
                    <a:pt x="5" y="257"/>
                  </a:cubicBezTo>
                  <a:cubicBezTo>
                    <a:pt x="2" y="241"/>
                    <a:pt x="0" y="222"/>
                    <a:pt x="0" y="202"/>
                  </a:cubicBezTo>
                  <a:cubicBezTo>
                    <a:pt x="0" y="0"/>
                    <a:pt x="0" y="0"/>
                    <a:pt x="0" y="0"/>
                  </a:cubicBezTo>
                  <a:cubicBezTo>
                    <a:pt x="90" y="0"/>
                    <a:pt x="90" y="0"/>
                    <a:pt x="90" y="0"/>
                  </a:cubicBezTo>
                  <a:cubicBezTo>
                    <a:pt x="90" y="185"/>
                    <a:pt x="90" y="185"/>
                    <a:pt x="90" y="185"/>
                  </a:cubicBezTo>
                  <a:cubicBezTo>
                    <a:pt x="90" y="213"/>
                    <a:pt x="94" y="233"/>
                    <a:pt x="103" y="246"/>
                  </a:cubicBezTo>
                  <a:cubicBezTo>
                    <a:pt x="111" y="259"/>
                    <a:pt x="126" y="266"/>
                    <a:pt x="148" y="266"/>
                  </a:cubicBezTo>
                  <a:cubicBezTo>
                    <a:pt x="172" y="266"/>
                    <a:pt x="190" y="259"/>
                    <a:pt x="201" y="244"/>
                  </a:cubicBezTo>
                  <a:cubicBezTo>
                    <a:pt x="212" y="230"/>
                    <a:pt x="218" y="206"/>
                    <a:pt x="218" y="172"/>
                  </a:cubicBezTo>
                  <a:cubicBezTo>
                    <a:pt x="218" y="0"/>
                    <a:pt x="218" y="0"/>
                    <a:pt x="218" y="0"/>
                  </a:cubicBezTo>
                  <a:cubicBezTo>
                    <a:pt x="308" y="0"/>
                    <a:pt x="308" y="0"/>
                    <a:pt x="308" y="0"/>
                  </a:cubicBezTo>
                  <a:cubicBezTo>
                    <a:pt x="308" y="328"/>
                    <a:pt x="308" y="328"/>
                    <a:pt x="308" y="328"/>
                  </a:cubicBezTo>
                  <a:lnTo>
                    <a:pt x="222" y="3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8" name="Freeform 7">
              <a:extLst>
                <a:ext uri="{FF2B5EF4-FFF2-40B4-BE49-F238E27FC236}">
                  <a16:creationId xmlns:a16="http://schemas.microsoft.com/office/drawing/2014/main" id="{33551E3B-B69B-404C-81B2-BD23385A3704}"/>
                </a:ext>
              </a:extLst>
            </p:cNvPr>
            <p:cNvSpPr>
              <a:spLocks noGrp="1" noRot="1" noMove="1" noResize="1" noEditPoints="1" noAdjustHandles="1" noChangeArrowheads="1" noChangeShapeType="1"/>
            </p:cNvSpPr>
            <p:nvPr/>
          </p:nvSpPr>
          <p:spPr bwMode="auto">
            <a:xfrm>
              <a:off x="1770063" y="4238625"/>
              <a:ext cx="206375" cy="236538"/>
            </a:xfrm>
            <a:custGeom>
              <a:avLst/>
              <a:gdLst>
                <a:gd name="T0" fmla="*/ 92 w 304"/>
                <a:gd name="T1" fmla="*/ 256 h 346"/>
                <a:gd name="T2" fmla="*/ 108 w 304"/>
                <a:gd name="T3" fmla="*/ 273 h 346"/>
                <a:gd name="T4" fmla="*/ 129 w 304"/>
                <a:gd name="T5" fmla="*/ 283 h 346"/>
                <a:gd name="T6" fmla="*/ 155 w 304"/>
                <a:gd name="T7" fmla="*/ 286 h 346"/>
                <a:gd name="T8" fmla="*/ 175 w 304"/>
                <a:gd name="T9" fmla="*/ 284 h 346"/>
                <a:gd name="T10" fmla="*/ 194 w 304"/>
                <a:gd name="T11" fmla="*/ 277 h 346"/>
                <a:gd name="T12" fmla="*/ 209 w 304"/>
                <a:gd name="T13" fmla="*/ 264 h 346"/>
                <a:gd name="T14" fmla="*/ 214 w 304"/>
                <a:gd name="T15" fmla="*/ 244 h 346"/>
                <a:gd name="T16" fmla="*/ 187 w 304"/>
                <a:gd name="T17" fmla="*/ 213 h 346"/>
                <a:gd name="T18" fmla="*/ 112 w 304"/>
                <a:gd name="T19" fmla="*/ 193 h 346"/>
                <a:gd name="T20" fmla="*/ 74 w 304"/>
                <a:gd name="T21" fmla="*/ 183 h 346"/>
                <a:gd name="T22" fmla="*/ 40 w 304"/>
                <a:gd name="T23" fmla="*/ 167 h 346"/>
                <a:gd name="T24" fmla="*/ 17 w 304"/>
                <a:gd name="T25" fmla="*/ 142 h 346"/>
                <a:gd name="T26" fmla="*/ 8 w 304"/>
                <a:gd name="T27" fmla="*/ 106 h 346"/>
                <a:gd name="T28" fmla="*/ 20 w 304"/>
                <a:gd name="T29" fmla="*/ 53 h 346"/>
                <a:gd name="T30" fmla="*/ 53 w 304"/>
                <a:gd name="T31" fmla="*/ 21 h 346"/>
                <a:gd name="T32" fmla="*/ 99 w 304"/>
                <a:gd name="T33" fmla="*/ 5 h 346"/>
                <a:gd name="T34" fmla="*/ 151 w 304"/>
                <a:gd name="T35" fmla="*/ 0 h 346"/>
                <a:gd name="T36" fmla="*/ 203 w 304"/>
                <a:gd name="T37" fmla="*/ 5 h 346"/>
                <a:gd name="T38" fmla="*/ 247 w 304"/>
                <a:gd name="T39" fmla="*/ 22 h 346"/>
                <a:gd name="T40" fmla="*/ 280 w 304"/>
                <a:gd name="T41" fmla="*/ 54 h 346"/>
                <a:gd name="T42" fmla="*/ 296 w 304"/>
                <a:gd name="T43" fmla="*/ 105 h 346"/>
                <a:gd name="T44" fmla="*/ 210 w 304"/>
                <a:gd name="T45" fmla="*/ 105 h 346"/>
                <a:gd name="T46" fmla="*/ 190 w 304"/>
                <a:gd name="T47" fmla="*/ 70 h 346"/>
                <a:gd name="T48" fmla="*/ 148 w 304"/>
                <a:gd name="T49" fmla="*/ 60 h 346"/>
                <a:gd name="T50" fmla="*/ 132 w 304"/>
                <a:gd name="T51" fmla="*/ 61 h 346"/>
                <a:gd name="T52" fmla="*/ 116 w 304"/>
                <a:gd name="T53" fmla="*/ 66 h 346"/>
                <a:gd name="T54" fmla="*/ 103 w 304"/>
                <a:gd name="T55" fmla="*/ 75 h 346"/>
                <a:gd name="T56" fmla="*/ 98 w 304"/>
                <a:gd name="T57" fmla="*/ 91 h 346"/>
                <a:gd name="T58" fmla="*/ 107 w 304"/>
                <a:gd name="T59" fmla="*/ 111 h 346"/>
                <a:gd name="T60" fmla="*/ 130 w 304"/>
                <a:gd name="T61" fmla="*/ 123 h 346"/>
                <a:gd name="T62" fmla="*/ 163 w 304"/>
                <a:gd name="T63" fmla="*/ 132 h 346"/>
                <a:gd name="T64" fmla="*/ 200 w 304"/>
                <a:gd name="T65" fmla="*/ 140 h 346"/>
                <a:gd name="T66" fmla="*/ 239 w 304"/>
                <a:gd name="T67" fmla="*/ 151 h 346"/>
                <a:gd name="T68" fmla="*/ 272 w 304"/>
                <a:gd name="T69" fmla="*/ 167 h 346"/>
                <a:gd name="T70" fmla="*/ 296 w 304"/>
                <a:gd name="T71" fmla="*/ 193 h 346"/>
                <a:gd name="T72" fmla="*/ 304 w 304"/>
                <a:gd name="T73" fmla="*/ 232 h 346"/>
                <a:gd name="T74" fmla="*/ 291 w 304"/>
                <a:gd name="T75" fmla="*/ 286 h 346"/>
                <a:gd name="T76" fmla="*/ 257 w 304"/>
                <a:gd name="T77" fmla="*/ 321 h 346"/>
                <a:gd name="T78" fmla="*/ 209 w 304"/>
                <a:gd name="T79" fmla="*/ 340 h 346"/>
                <a:gd name="T80" fmla="*/ 155 w 304"/>
                <a:gd name="T81" fmla="*/ 346 h 346"/>
                <a:gd name="T82" fmla="*/ 99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8" y="273"/>
                  </a:cubicBezTo>
                  <a:cubicBezTo>
                    <a:pt x="114" y="277"/>
                    <a:pt x="121" y="281"/>
                    <a:pt x="129" y="283"/>
                  </a:cubicBezTo>
                  <a:cubicBezTo>
                    <a:pt x="138" y="285"/>
                    <a:pt x="146" y="286"/>
                    <a:pt x="155" y="286"/>
                  </a:cubicBezTo>
                  <a:cubicBezTo>
                    <a:pt x="162" y="286"/>
                    <a:pt x="168" y="285"/>
                    <a:pt x="175" y="284"/>
                  </a:cubicBezTo>
                  <a:cubicBezTo>
                    <a:pt x="182" y="282"/>
                    <a:pt x="189" y="280"/>
                    <a:pt x="194" y="277"/>
                  </a:cubicBezTo>
                  <a:cubicBezTo>
                    <a:pt x="200" y="273"/>
                    <a:pt x="205" y="269"/>
                    <a:pt x="209" y="264"/>
                  </a:cubicBezTo>
                  <a:cubicBezTo>
                    <a:pt x="212" y="259"/>
                    <a:pt x="214" y="252"/>
                    <a:pt x="214" y="244"/>
                  </a:cubicBezTo>
                  <a:cubicBezTo>
                    <a:pt x="214" y="230"/>
                    <a:pt x="205" y="220"/>
                    <a:pt x="187" y="213"/>
                  </a:cubicBezTo>
                  <a:cubicBezTo>
                    <a:pt x="169" y="207"/>
                    <a:pt x="144" y="200"/>
                    <a:pt x="112" y="193"/>
                  </a:cubicBezTo>
                  <a:cubicBezTo>
                    <a:pt x="99" y="190"/>
                    <a:pt x="86" y="187"/>
                    <a:pt x="74" y="183"/>
                  </a:cubicBezTo>
                  <a:cubicBezTo>
                    <a:pt x="61" y="179"/>
                    <a:pt x="50" y="173"/>
                    <a:pt x="40" y="167"/>
                  </a:cubicBezTo>
                  <a:cubicBezTo>
                    <a:pt x="31" y="160"/>
                    <a:pt x="23" y="152"/>
                    <a:pt x="17" y="142"/>
                  </a:cubicBezTo>
                  <a:cubicBezTo>
                    <a:pt x="11" y="132"/>
                    <a:pt x="8" y="120"/>
                    <a:pt x="8" y="106"/>
                  </a:cubicBezTo>
                  <a:cubicBezTo>
                    <a:pt x="8" y="84"/>
                    <a:pt x="12" y="67"/>
                    <a:pt x="20" y="53"/>
                  </a:cubicBezTo>
                  <a:cubicBezTo>
                    <a:pt x="29" y="40"/>
                    <a:pt x="39" y="29"/>
                    <a:pt x="53" y="21"/>
                  </a:cubicBezTo>
                  <a:cubicBezTo>
                    <a:pt x="67" y="14"/>
                    <a:pt x="82" y="8"/>
                    <a:pt x="99" y="5"/>
                  </a:cubicBezTo>
                  <a:cubicBezTo>
                    <a:pt x="116" y="2"/>
                    <a:pt x="133" y="0"/>
                    <a:pt x="151" y="0"/>
                  </a:cubicBezTo>
                  <a:cubicBezTo>
                    <a:pt x="169" y="0"/>
                    <a:pt x="186" y="2"/>
                    <a:pt x="203" y="5"/>
                  </a:cubicBezTo>
                  <a:cubicBezTo>
                    <a:pt x="219" y="9"/>
                    <a:pt x="234" y="14"/>
                    <a:pt x="247" y="22"/>
                  </a:cubicBezTo>
                  <a:cubicBezTo>
                    <a:pt x="260" y="30"/>
                    <a:pt x="271" y="41"/>
                    <a:pt x="280" y="54"/>
                  </a:cubicBezTo>
                  <a:cubicBezTo>
                    <a:pt x="289" y="68"/>
                    <a:pt x="294" y="85"/>
                    <a:pt x="296" y="105"/>
                  </a:cubicBezTo>
                  <a:cubicBezTo>
                    <a:pt x="210" y="105"/>
                    <a:pt x="210" y="105"/>
                    <a:pt x="210" y="105"/>
                  </a:cubicBezTo>
                  <a:cubicBezTo>
                    <a:pt x="209" y="88"/>
                    <a:pt x="202" y="76"/>
                    <a:pt x="190" y="70"/>
                  </a:cubicBezTo>
                  <a:cubicBezTo>
                    <a:pt x="178" y="64"/>
                    <a:pt x="164" y="60"/>
                    <a:pt x="148" y="60"/>
                  </a:cubicBezTo>
                  <a:cubicBezTo>
                    <a:pt x="143" y="60"/>
                    <a:pt x="138" y="61"/>
                    <a:pt x="132" y="61"/>
                  </a:cubicBezTo>
                  <a:cubicBezTo>
                    <a:pt x="126" y="62"/>
                    <a:pt x="120" y="63"/>
                    <a:pt x="116" y="66"/>
                  </a:cubicBezTo>
                  <a:cubicBezTo>
                    <a:pt x="111" y="68"/>
                    <a:pt x="107" y="71"/>
                    <a:pt x="103" y="75"/>
                  </a:cubicBezTo>
                  <a:cubicBezTo>
                    <a:pt x="100" y="79"/>
                    <a:pt x="98" y="84"/>
                    <a:pt x="98" y="91"/>
                  </a:cubicBezTo>
                  <a:cubicBezTo>
                    <a:pt x="98" y="99"/>
                    <a:pt x="101" y="106"/>
                    <a:pt x="107" y="111"/>
                  </a:cubicBezTo>
                  <a:cubicBezTo>
                    <a:pt x="113" y="116"/>
                    <a:pt x="121" y="120"/>
                    <a:pt x="130" y="123"/>
                  </a:cubicBezTo>
                  <a:cubicBezTo>
                    <a:pt x="140" y="126"/>
                    <a:pt x="151" y="129"/>
                    <a:pt x="163" y="132"/>
                  </a:cubicBezTo>
                  <a:cubicBezTo>
                    <a:pt x="175" y="134"/>
                    <a:pt x="188" y="137"/>
                    <a:pt x="200" y="140"/>
                  </a:cubicBezTo>
                  <a:cubicBezTo>
                    <a:pt x="213" y="143"/>
                    <a:pt x="226" y="146"/>
                    <a:pt x="239" y="151"/>
                  </a:cubicBezTo>
                  <a:cubicBezTo>
                    <a:pt x="251" y="155"/>
                    <a:pt x="262" y="160"/>
                    <a:pt x="272" y="167"/>
                  </a:cubicBezTo>
                  <a:cubicBezTo>
                    <a:pt x="282" y="174"/>
                    <a:pt x="290" y="183"/>
                    <a:pt x="296" y="193"/>
                  </a:cubicBezTo>
                  <a:cubicBezTo>
                    <a:pt x="301" y="204"/>
                    <a:pt x="304" y="217"/>
                    <a:pt x="304" y="232"/>
                  </a:cubicBezTo>
                  <a:cubicBezTo>
                    <a:pt x="304" y="253"/>
                    <a:pt x="300" y="272"/>
                    <a:pt x="291" y="286"/>
                  </a:cubicBezTo>
                  <a:cubicBezTo>
                    <a:pt x="283" y="301"/>
                    <a:pt x="271" y="313"/>
                    <a:pt x="257" y="321"/>
                  </a:cubicBezTo>
                  <a:cubicBezTo>
                    <a:pt x="243" y="330"/>
                    <a:pt x="227" y="337"/>
                    <a:pt x="209" y="340"/>
                  </a:cubicBezTo>
                  <a:cubicBezTo>
                    <a:pt x="192" y="344"/>
                    <a:pt x="173" y="346"/>
                    <a:pt x="155" y="346"/>
                  </a:cubicBezTo>
                  <a:cubicBezTo>
                    <a:pt x="136" y="346"/>
                    <a:pt x="117" y="344"/>
                    <a:pt x="99"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9" name="Freeform 8">
              <a:extLst>
                <a:ext uri="{FF2B5EF4-FFF2-40B4-BE49-F238E27FC236}">
                  <a16:creationId xmlns:a16="http://schemas.microsoft.com/office/drawing/2014/main" id="{CA29777D-3DDB-40B1-A949-832B1B2897DB}"/>
                </a:ext>
              </a:extLst>
            </p:cNvPr>
            <p:cNvSpPr>
              <a:spLocks noGrp="1" noRot="1" noMove="1" noResize="1" noEditPoints="1" noAdjustHandles="1" noChangeArrowheads="1" noChangeShapeType="1"/>
            </p:cNvSpPr>
            <p:nvPr/>
          </p:nvSpPr>
          <p:spPr bwMode="auto">
            <a:xfrm>
              <a:off x="2008188" y="4160838"/>
              <a:ext cx="60325" cy="307975"/>
            </a:xfrm>
            <a:custGeom>
              <a:avLst/>
              <a:gdLst>
                <a:gd name="T0" fmla="*/ 0 w 38"/>
                <a:gd name="T1" fmla="*/ 31 h 194"/>
                <a:gd name="T2" fmla="*/ 0 w 38"/>
                <a:gd name="T3" fmla="*/ 0 h 194"/>
                <a:gd name="T4" fmla="*/ 38 w 38"/>
                <a:gd name="T5" fmla="*/ 0 h 194"/>
                <a:gd name="T6" fmla="*/ 38 w 38"/>
                <a:gd name="T7" fmla="*/ 31 h 194"/>
                <a:gd name="T8" fmla="*/ 0 w 38"/>
                <a:gd name="T9" fmla="*/ 31 h 194"/>
                <a:gd name="T10" fmla="*/ 38 w 38"/>
                <a:gd name="T11" fmla="*/ 53 h 194"/>
                <a:gd name="T12" fmla="*/ 38 w 38"/>
                <a:gd name="T13" fmla="*/ 194 h 194"/>
                <a:gd name="T14" fmla="*/ 0 w 38"/>
                <a:gd name="T15" fmla="*/ 194 h 194"/>
                <a:gd name="T16" fmla="*/ 0 w 38"/>
                <a:gd name="T17" fmla="*/ 53 h 194"/>
                <a:gd name="T18" fmla="*/ 38 w 38"/>
                <a:gd name="T19" fmla="*/ 5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94">
                  <a:moveTo>
                    <a:pt x="0" y="31"/>
                  </a:moveTo>
                  <a:lnTo>
                    <a:pt x="0" y="0"/>
                  </a:lnTo>
                  <a:lnTo>
                    <a:pt x="38" y="0"/>
                  </a:lnTo>
                  <a:lnTo>
                    <a:pt x="38" y="31"/>
                  </a:lnTo>
                  <a:lnTo>
                    <a:pt x="0" y="31"/>
                  </a:lnTo>
                  <a:close/>
                  <a:moveTo>
                    <a:pt x="38" y="53"/>
                  </a:moveTo>
                  <a:lnTo>
                    <a:pt x="38" y="194"/>
                  </a:lnTo>
                  <a:lnTo>
                    <a:pt x="0" y="194"/>
                  </a:lnTo>
                  <a:lnTo>
                    <a:pt x="0" y="53"/>
                  </a:lnTo>
                  <a:lnTo>
                    <a:pt x="38"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0" name="Freeform 9">
              <a:extLst>
                <a:ext uri="{FF2B5EF4-FFF2-40B4-BE49-F238E27FC236}">
                  <a16:creationId xmlns:a16="http://schemas.microsoft.com/office/drawing/2014/main" id="{DE079AB5-C2C7-4C68-91EA-055CF3721EF4}"/>
                </a:ext>
              </a:extLst>
            </p:cNvPr>
            <p:cNvSpPr>
              <a:spLocks noGrp="1" noRot="1" noMove="1" noResize="1" noEditPoints="1" noAdjustHandles="1" noChangeArrowheads="1" noChangeShapeType="1"/>
            </p:cNvSpPr>
            <p:nvPr/>
          </p:nvSpPr>
          <p:spPr bwMode="auto">
            <a:xfrm>
              <a:off x="2109788" y="4238625"/>
              <a:ext cx="209550" cy="230188"/>
            </a:xfrm>
            <a:custGeom>
              <a:avLst/>
              <a:gdLst>
                <a:gd name="T0" fmla="*/ 86 w 308"/>
                <a:gd name="T1" fmla="*/ 9 h 337"/>
                <a:gd name="T2" fmla="*/ 86 w 308"/>
                <a:gd name="T3" fmla="*/ 55 h 337"/>
                <a:gd name="T4" fmla="*/ 88 w 308"/>
                <a:gd name="T5" fmla="*/ 55 h 337"/>
                <a:gd name="T6" fmla="*/ 132 w 308"/>
                <a:gd name="T7" fmla="*/ 13 h 337"/>
                <a:gd name="T8" fmla="*/ 188 w 308"/>
                <a:gd name="T9" fmla="*/ 0 h 337"/>
                <a:gd name="T10" fmla="*/ 248 w 308"/>
                <a:gd name="T11" fmla="*/ 10 h 337"/>
                <a:gd name="T12" fmla="*/ 284 w 308"/>
                <a:gd name="T13" fmla="*/ 37 h 337"/>
                <a:gd name="T14" fmla="*/ 303 w 308"/>
                <a:gd name="T15" fmla="*/ 80 h 337"/>
                <a:gd name="T16" fmla="*/ 308 w 308"/>
                <a:gd name="T17" fmla="*/ 135 h 337"/>
                <a:gd name="T18" fmla="*/ 308 w 308"/>
                <a:gd name="T19" fmla="*/ 337 h 337"/>
                <a:gd name="T20" fmla="*/ 218 w 308"/>
                <a:gd name="T21" fmla="*/ 337 h 337"/>
                <a:gd name="T22" fmla="*/ 218 w 308"/>
                <a:gd name="T23" fmla="*/ 152 h 337"/>
                <a:gd name="T24" fmla="*/ 205 w 308"/>
                <a:gd name="T25" fmla="*/ 91 h 337"/>
                <a:gd name="T26" fmla="*/ 160 w 308"/>
                <a:gd name="T27" fmla="*/ 71 h 337"/>
                <a:gd name="T28" fmla="*/ 107 w 308"/>
                <a:gd name="T29" fmla="*/ 93 h 337"/>
                <a:gd name="T30" fmla="*/ 90 w 308"/>
                <a:gd name="T31" fmla="*/ 165 h 337"/>
                <a:gd name="T32" fmla="*/ 90 w 308"/>
                <a:gd name="T33" fmla="*/ 337 h 337"/>
                <a:gd name="T34" fmla="*/ 0 w 308"/>
                <a:gd name="T35" fmla="*/ 337 h 337"/>
                <a:gd name="T36" fmla="*/ 0 w 308"/>
                <a:gd name="T37" fmla="*/ 9 h 337"/>
                <a:gd name="T38" fmla="*/ 86 w 308"/>
                <a:gd name="T39" fmla="*/ 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37">
                  <a:moveTo>
                    <a:pt x="86" y="9"/>
                  </a:moveTo>
                  <a:cubicBezTo>
                    <a:pt x="86" y="55"/>
                    <a:pt x="86" y="55"/>
                    <a:pt x="86" y="55"/>
                  </a:cubicBezTo>
                  <a:cubicBezTo>
                    <a:pt x="88" y="55"/>
                    <a:pt x="88" y="55"/>
                    <a:pt x="88" y="55"/>
                  </a:cubicBezTo>
                  <a:cubicBezTo>
                    <a:pt x="99" y="36"/>
                    <a:pt x="114" y="22"/>
                    <a:pt x="132" y="13"/>
                  </a:cubicBezTo>
                  <a:cubicBezTo>
                    <a:pt x="151" y="4"/>
                    <a:pt x="169" y="0"/>
                    <a:pt x="188" y="0"/>
                  </a:cubicBezTo>
                  <a:cubicBezTo>
                    <a:pt x="212" y="0"/>
                    <a:pt x="232" y="3"/>
                    <a:pt x="248" y="10"/>
                  </a:cubicBezTo>
                  <a:cubicBezTo>
                    <a:pt x="263" y="17"/>
                    <a:pt x="275" y="26"/>
                    <a:pt x="284" y="37"/>
                  </a:cubicBezTo>
                  <a:cubicBezTo>
                    <a:pt x="293" y="49"/>
                    <a:pt x="299" y="63"/>
                    <a:pt x="303" y="80"/>
                  </a:cubicBezTo>
                  <a:cubicBezTo>
                    <a:pt x="306" y="97"/>
                    <a:pt x="308" y="115"/>
                    <a:pt x="308" y="135"/>
                  </a:cubicBezTo>
                  <a:cubicBezTo>
                    <a:pt x="308" y="337"/>
                    <a:pt x="308" y="337"/>
                    <a:pt x="308" y="337"/>
                  </a:cubicBezTo>
                  <a:cubicBezTo>
                    <a:pt x="218" y="337"/>
                    <a:pt x="218" y="337"/>
                    <a:pt x="218" y="337"/>
                  </a:cubicBezTo>
                  <a:cubicBezTo>
                    <a:pt x="218" y="152"/>
                    <a:pt x="218" y="152"/>
                    <a:pt x="218" y="152"/>
                  </a:cubicBezTo>
                  <a:cubicBezTo>
                    <a:pt x="218" y="125"/>
                    <a:pt x="214" y="105"/>
                    <a:pt x="205" y="91"/>
                  </a:cubicBezTo>
                  <a:cubicBezTo>
                    <a:pt x="197" y="78"/>
                    <a:pt x="182" y="71"/>
                    <a:pt x="160" y="71"/>
                  </a:cubicBezTo>
                  <a:cubicBezTo>
                    <a:pt x="136" y="71"/>
                    <a:pt x="118" y="79"/>
                    <a:pt x="107" y="93"/>
                  </a:cubicBezTo>
                  <a:cubicBezTo>
                    <a:pt x="96" y="108"/>
                    <a:pt x="90" y="132"/>
                    <a:pt x="90" y="165"/>
                  </a:cubicBezTo>
                  <a:cubicBezTo>
                    <a:pt x="90" y="337"/>
                    <a:pt x="90" y="337"/>
                    <a:pt x="90" y="337"/>
                  </a:cubicBezTo>
                  <a:cubicBezTo>
                    <a:pt x="0" y="337"/>
                    <a:pt x="0" y="337"/>
                    <a:pt x="0" y="337"/>
                  </a:cubicBezTo>
                  <a:cubicBezTo>
                    <a:pt x="0" y="9"/>
                    <a:pt x="0" y="9"/>
                    <a:pt x="0" y="9"/>
                  </a:cubicBezTo>
                  <a:lnTo>
                    <a:pt x="86" y="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1" name="Freeform 10">
              <a:extLst>
                <a:ext uri="{FF2B5EF4-FFF2-40B4-BE49-F238E27FC236}">
                  <a16:creationId xmlns:a16="http://schemas.microsoft.com/office/drawing/2014/main" id="{13824EBB-9A38-4CE9-99A1-2981DA41A39F}"/>
                </a:ext>
              </a:extLst>
            </p:cNvPr>
            <p:cNvSpPr>
              <a:spLocks noGrp="1" noRot="1" noMove="1" noResize="1" noEditPoints="1" noAdjustHandles="1" noChangeArrowheads="1" noChangeShapeType="1"/>
            </p:cNvSpPr>
            <p:nvPr/>
          </p:nvSpPr>
          <p:spPr bwMode="auto">
            <a:xfrm>
              <a:off x="2347913" y="4238625"/>
              <a:ext cx="222250" cy="236538"/>
            </a:xfrm>
            <a:custGeom>
              <a:avLst/>
              <a:gdLst>
                <a:gd name="T0" fmla="*/ 112 w 328"/>
                <a:gd name="T1" fmla="*/ 259 h 346"/>
                <a:gd name="T2" fmla="*/ 170 w 328"/>
                <a:gd name="T3" fmla="*/ 278 h 346"/>
                <a:gd name="T4" fmla="*/ 217 w 328"/>
                <a:gd name="T5" fmla="*/ 265 h 346"/>
                <a:gd name="T6" fmla="*/ 241 w 328"/>
                <a:gd name="T7" fmla="*/ 236 h 346"/>
                <a:gd name="T8" fmla="*/ 321 w 328"/>
                <a:gd name="T9" fmla="*/ 236 h 346"/>
                <a:gd name="T10" fmla="*/ 262 w 328"/>
                <a:gd name="T11" fmla="*/ 320 h 346"/>
                <a:gd name="T12" fmla="*/ 167 w 328"/>
                <a:gd name="T13" fmla="*/ 346 h 346"/>
                <a:gd name="T14" fmla="*/ 97 w 328"/>
                <a:gd name="T15" fmla="*/ 333 h 346"/>
                <a:gd name="T16" fmla="*/ 45 w 328"/>
                <a:gd name="T17" fmla="*/ 298 h 346"/>
                <a:gd name="T18" fmla="*/ 11 w 328"/>
                <a:gd name="T19" fmla="*/ 243 h 346"/>
                <a:gd name="T20" fmla="*/ 0 w 328"/>
                <a:gd name="T21" fmla="*/ 173 h 346"/>
                <a:gd name="T22" fmla="*/ 12 w 328"/>
                <a:gd name="T23" fmla="*/ 105 h 346"/>
                <a:gd name="T24" fmla="*/ 46 w 328"/>
                <a:gd name="T25" fmla="*/ 50 h 346"/>
                <a:gd name="T26" fmla="*/ 99 w 328"/>
                <a:gd name="T27" fmla="*/ 13 h 346"/>
                <a:gd name="T28" fmla="*/ 167 w 328"/>
                <a:gd name="T29" fmla="*/ 0 h 346"/>
                <a:gd name="T30" fmla="*/ 240 w 328"/>
                <a:gd name="T31" fmla="*/ 16 h 346"/>
                <a:gd name="T32" fmla="*/ 291 w 328"/>
                <a:gd name="T33" fmla="*/ 60 h 346"/>
                <a:gd name="T34" fmla="*/ 320 w 328"/>
                <a:gd name="T35" fmla="*/ 122 h 346"/>
                <a:gd name="T36" fmla="*/ 327 w 328"/>
                <a:gd name="T37" fmla="*/ 195 h 346"/>
                <a:gd name="T38" fmla="*/ 90 w 328"/>
                <a:gd name="T39" fmla="*/ 195 h 346"/>
                <a:gd name="T40" fmla="*/ 112 w 328"/>
                <a:gd name="T41" fmla="*/ 259 h 346"/>
                <a:gd name="T42" fmla="*/ 214 w 328"/>
                <a:gd name="T43" fmla="*/ 86 h 346"/>
                <a:gd name="T44" fmla="*/ 165 w 328"/>
                <a:gd name="T45" fmla="*/ 68 h 346"/>
                <a:gd name="T46" fmla="*/ 129 w 328"/>
                <a:gd name="T47" fmla="*/ 75 h 346"/>
                <a:gd name="T48" fmla="*/ 106 w 328"/>
                <a:gd name="T49" fmla="*/ 93 h 346"/>
                <a:gd name="T50" fmla="*/ 94 w 328"/>
                <a:gd name="T51" fmla="*/ 116 h 346"/>
                <a:gd name="T52" fmla="*/ 90 w 328"/>
                <a:gd name="T53" fmla="*/ 138 h 346"/>
                <a:gd name="T54" fmla="*/ 236 w 328"/>
                <a:gd name="T55" fmla="*/ 138 h 346"/>
                <a:gd name="T56" fmla="*/ 214 w 328"/>
                <a:gd name="T57" fmla="*/ 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8" h="346">
                  <a:moveTo>
                    <a:pt x="112" y="259"/>
                  </a:moveTo>
                  <a:cubicBezTo>
                    <a:pt x="126" y="272"/>
                    <a:pt x="145" y="278"/>
                    <a:pt x="170" y="278"/>
                  </a:cubicBezTo>
                  <a:cubicBezTo>
                    <a:pt x="189" y="278"/>
                    <a:pt x="204" y="274"/>
                    <a:pt x="217" y="265"/>
                  </a:cubicBezTo>
                  <a:cubicBezTo>
                    <a:pt x="230" y="255"/>
                    <a:pt x="239" y="246"/>
                    <a:pt x="241" y="236"/>
                  </a:cubicBezTo>
                  <a:cubicBezTo>
                    <a:pt x="321" y="236"/>
                    <a:pt x="321" y="236"/>
                    <a:pt x="321" y="236"/>
                  </a:cubicBezTo>
                  <a:cubicBezTo>
                    <a:pt x="308" y="275"/>
                    <a:pt x="289" y="303"/>
                    <a:pt x="262" y="320"/>
                  </a:cubicBezTo>
                  <a:cubicBezTo>
                    <a:pt x="236" y="337"/>
                    <a:pt x="204" y="346"/>
                    <a:pt x="167" y="346"/>
                  </a:cubicBezTo>
                  <a:cubicBezTo>
                    <a:pt x="141" y="346"/>
                    <a:pt x="118" y="341"/>
                    <a:pt x="97" y="333"/>
                  </a:cubicBezTo>
                  <a:cubicBezTo>
                    <a:pt x="77" y="325"/>
                    <a:pt x="59" y="313"/>
                    <a:pt x="45" y="298"/>
                  </a:cubicBezTo>
                  <a:cubicBezTo>
                    <a:pt x="30" y="283"/>
                    <a:pt x="19" y="264"/>
                    <a:pt x="11" y="243"/>
                  </a:cubicBezTo>
                  <a:cubicBezTo>
                    <a:pt x="3" y="222"/>
                    <a:pt x="0" y="199"/>
                    <a:pt x="0" y="173"/>
                  </a:cubicBezTo>
                  <a:cubicBezTo>
                    <a:pt x="0" y="149"/>
                    <a:pt x="4" y="126"/>
                    <a:pt x="12" y="105"/>
                  </a:cubicBezTo>
                  <a:cubicBezTo>
                    <a:pt x="20" y="84"/>
                    <a:pt x="31" y="65"/>
                    <a:pt x="46" y="50"/>
                  </a:cubicBezTo>
                  <a:cubicBezTo>
                    <a:pt x="61" y="35"/>
                    <a:pt x="78" y="22"/>
                    <a:pt x="99" y="13"/>
                  </a:cubicBezTo>
                  <a:cubicBezTo>
                    <a:pt x="119" y="5"/>
                    <a:pt x="142" y="0"/>
                    <a:pt x="167" y="0"/>
                  </a:cubicBezTo>
                  <a:cubicBezTo>
                    <a:pt x="195" y="0"/>
                    <a:pt x="219" y="6"/>
                    <a:pt x="240" y="16"/>
                  </a:cubicBezTo>
                  <a:cubicBezTo>
                    <a:pt x="261" y="27"/>
                    <a:pt x="278" y="42"/>
                    <a:pt x="291" y="60"/>
                  </a:cubicBezTo>
                  <a:cubicBezTo>
                    <a:pt x="305" y="78"/>
                    <a:pt x="314" y="99"/>
                    <a:pt x="320" y="122"/>
                  </a:cubicBezTo>
                  <a:cubicBezTo>
                    <a:pt x="326" y="145"/>
                    <a:pt x="328" y="170"/>
                    <a:pt x="327" y="195"/>
                  </a:cubicBezTo>
                  <a:cubicBezTo>
                    <a:pt x="90" y="195"/>
                    <a:pt x="90" y="195"/>
                    <a:pt x="90" y="195"/>
                  </a:cubicBezTo>
                  <a:cubicBezTo>
                    <a:pt x="91" y="224"/>
                    <a:pt x="98" y="245"/>
                    <a:pt x="112" y="259"/>
                  </a:cubicBezTo>
                  <a:close/>
                  <a:moveTo>
                    <a:pt x="214" y="86"/>
                  </a:moveTo>
                  <a:cubicBezTo>
                    <a:pt x="203" y="74"/>
                    <a:pt x="187" y="68"/>
                    <a:pt x="165" y="68"/>
                  </a:cubicBezTo>
                  <a:cubicBezTo>
                    <a:pt x="150" y="68"/>
                    <a:pt x="138" y="71"/>
                    <a:pt x="129" y="75"/>
                  </a:cubicBezTo>
                  <a:cubicBezTo>
                    <a:pt x="119" y="80"/>
                    <a:pt x="112" y="86"/>
                    <a:pt x="106" y="93"/>
                  </a:cubicBezTo>
                  <a:cubicBezTo>
                    <a:pt x="100" y="101"/>
                    <a:pt x="96" y="108"/>
                    <a:pt x="94" y="116"/>
                  </a:cubicBezTo>
                  <a:cubicBezTo>
                    <a:pt x="92" y="124"/>
                    <a:pt x="90" y="132"/>
                    <a:pt x="90" y="138"/>
                  </a:cubicBezTo>
                  <a:cubicBezTo>
                    <a:pt x="236" y="138"/>
                    <a:pt x="236" y="138"/>
                    <a:pt x="236" y="138"/>
                  </a:cubicBezTo>
                  <a:cubicBezTo>
                    <a:pt x="232" y="115"/>
                    <a:pt x="225" y="98"/>
                    <a:pt x="214" y="8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2" name="Freeform 11">
              <a:extLst>
                <a:ext uri="{FF2B5EF4-FFF2-40B4-BE49-F238E27FC236}">
                  <a16:creationId xmlns:a16="http://schemas.microsoft.com/office/drawing/2014/main" id="{E1FB89B6-10AC-42EB-B7F3-14C6F4A6879F}"/>
                </a:ext>
              </a:extLst>
            </p:cNvPr>
            <p:cNvSpPr>
              <a:spLocks noGrp="1" noRot="1" noMove="1" noResize="1" noEditPoints="1" noAdjustHandles="1" noChangeArrowheads="1" noChangeShapeType="1"/>
            </p:cNvSpPr>
            <p:nvPr/>
          </p:nvSpPr>
          <p:spPr bwMode="auto">
            <a:xfrm>
              <a:off x="2586038" y="4238625"/>
              <a:ext cx="206375" cy="236538"/>
            </a:xfrm>
            <a:custGeom>
              <a:avLst/>
              <a:gdLst>
                <a:gd name="T0" fmla="*/ 92 w 304"/>
                <a:gd name="T1" fmla="*/ 256 h 346"/>
                <a:gd name="T2" fmla="*/ 107 w 304"/>
                <a:gd name="T3" fmla="*/ 273 h 346"/>
                <a:gd name="T4" fmla="*/ 129 w 304"/>
                <a:gd name="T5" fmla="*/ 283 h 346"/>
                <a:gd name="T6" fmla="*/ 155 w 304"/>
                <a:gd name="T7" fmla="*/ 286 h 346"/>
                <a:gd name="T8" fmla="*/ 175 w 304"/>
                <a:gd name="T9" fmla="*/ 284 h 346"/>
                <a:gd name="T10" fmla="*/ 194 w 304"/>
                <a:gd name="T11" fmla="*/ 277 h 346"/>
                <a:gd name="T12" fmla="*/ 208 w 304"/>
                <a:gd name="T13" fmla="*/ 264 h 346"/>
                <a:gd name="T14" fmla="*/ 214 w 304"/>
                <a:gd name="T15" fmla="*/ 244 h 346"/>
                <a:gd name="T16" fmla="*/ 187 w 304"/>
                <a:gd name="T17" fmla="*/ 213 h 346"/>
                <a:gd name="T18" fmla="*/ 112 w 304"/>
                <a:gd name="T19" fmla="*/ 193 h 346"/>
                <a:gd name="T20" fmla="*/ 73 w 304"/>
                <a:gd name="T21" fmla="*/ 183 h 346"/>
                <a:gd name="T22" fmla="*/ 40 w 304"/>
                <a:gd name="T23" fmla="*/ 167 h 346"/>
                <a:gd name="T24" fmla="*/ 16 w 304"/>
                <a:gd name="T25" fmla="*/ 142 h 346"/>
                <a:gd name="T26" fmla="*/ 8 w 304"/>
                <a:gd name="T27" fmla="*/ 106 h 346"/>
                <a:gd name="T28" fmla="*/ 20 w 304"/>
                <a:gd name="T29" fmla="*/ 53 h 346"/>
                <a:gd name="T30" fmla="*/ 53 w 304"/>
                <a:gd name="T31" fmla="*/ 21 h 346"/>
                <a:gd name="T32" fmla="*/ 98 w 304"/>
                <a:gd name="T33" fmla="*/ 5 h 346"/>
                <a:gd name="T34" fmla="*/ 150 w 304"/>
                <a:gd name="T35" fmla="*/ 0 h 346"/>
                <a:gd name="T36" fmla="*/ 202 w 304"/>
                <a:gd name="T37" fmla="*/ 5 h 346"/>
                <a:gd name="T38" fmla="*/ 247 w 304"/>
                <a:gd name="T39" fmla="*/ 22 h 346"/>
                <a:gd name="T40" fmla="*/ 280 w 304"/>
                <a:gd name="T41" fmla="*/ 54 h 346"/>
                <a:gd name="T42" fmla="*/ 295 w 304"/>
                <a:gd name="T43" fmla="*/ 105 h 346"/>
                <a:gd name="T44" fmla="*/ 210 w 304"/>
                <a:gd name="T45" fmla="*/ 105 h 346"/>
                <a:gd name="T46" fmla="*/ 190 w 304"/>
                <a:gd name="T47" fmla="*/ 70 h 346"/>
                <a:gd name="T48" fmla="*/ 148 w 304"/>
                <a:gd name="T49" fmla="*/ 60 h 346"/>
                <a:gd name="T50" fmla="*/ 131 w 304"/>
                <a:gd name="T51" fmla="*/ 61 h 346"/>
                <a:gd name="T52" fmla="*/ 115 w 304"/>
                <a:gd name="T53" fmla="*/ 66 h 346"/>
                <a:gd name="T54" fmla="*/ 103 w 304"/>
                <a:gd name="T55" fmla="*/ 75 h 346"/>
                <a:gd name="T56" fmla="*/ 98 w 304"/>
                <a:gd name="T57" fmla="*/ 91 h 346"/>
                <a:gd name="T58" fmla="*/ 107 w 304"/>
                <a:gd name="T59" fmla="*/ 111 h 346"/>
                <a:gd name="T60" fmla="*/ 130 w 304"/>
                <a:gd name="T61" fmla="*/ 123 h 346"/>
                <a:gd name="T62" fmla="*/ 163 w 304"/>
                <a:gd name="T63" fmla="*/ 132 h 346"/>
                <a:gd name="T64" fmla="*/ 200 w 304"/>
                <a:gd name="T65" fmla="*/ 140 h 346"/>
                <a:gd name="T66" fmla="*/ 238 w 304"/>
                <a:gd name="T67" fmla="*/ 151 h 346"/>
                <a:gd name="T68" fmla="*/ 272 w 304"/>
                <a:gd name="T69" fmla="*/ 167 h 346"/>
                <a:gd name="T70" fmla="*/ 295 w 304"/>
                <a:gd name="T71" fmla="*/ 193 h 346"/>
                <a:gd name="T72" fmla="*/ 304 w 304"/>
                <a:gd name="T73" fmla="*/ 232 h 346"/>
                <a:gd name="T74" fmla="*/ 291 w 304"/>
                <a:gd name="T75" fmla="*/ 286 h 346"/>
                <a:gd name="T76" fmla="*/ 257 w 304"/>
                <a:gd name="T77" fmla="*/ 321 h 346"/>
                <a:gd name="T78" fmla="*/ 209 w 304"/>
                <a:gd name="T79" fmla="*/ 340 h 346"/>
                <a:gd name="T80" fmla="*/ 154 w 304"/>
                <a:gd name="T81" fmla="*/ 346 h 346"/>
                <a:gd name="T82" fmla="*/ 98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7" y="273"/>
                  </a:cubicBezTo>
                  <a:cubicBezTo>
                    <a:pt x="114" y="277"/>
                    <a:pt x="121" y="281"/>
                    <a:pt x="129" y="283"/>
                  </a:cubicBezTo>
                  <a:cubicBezTo>
                    <a:pt x="137" y="285"/>
                    <a:pt x="146" y="286"/>
                    <a:pt x="155" y="286"/>
                  </a:cubicBezTo>
                  <a:cubicBezTo>
                    <a:pt x="161" y="286"/>
                    <a:pt x="168" y="285"/>
                    <a:pt x="175" y="284"/>
                  </a:cubicBezTo>
                  <a:cubicBezTo>
                    <a:pt x="182" y="282"/>
                    <a:pt x="188" y="280"/>
                    <a:pt x="194" y="277"/>
                  </a:cubicBezTo>
                  <a:cubicBezTo>
                    <a:pt x="200" y="273"/>
                    <a:pt x="204" y="269"/>
                    <a:pt x="208" y="264"/>
                  </a:cubicBezTo>
                  <a:cubicBezTo>
                    <a:pt x="212" y="259"/>
                    <a:pt x="214" y="252"/>
                    <a:pt x="214" y="244"/>
                  </a:cubicBezTo>
                  <a:cubicBezTo>
                    <a:pt x="214" y="230"/>
                    <a:pt x="205" y="220"/>
                    <a:pt x="187" y="213"/>
                  </a:cubicBezTo>
                  <a:cubicBezTo>
                    <a:pt x="169" y="207"/>
                    <a:pt x="144" y="200"/>
                    <a:pt x="112" y="193"/>
                  </a:cubicBezTo>
                  <a:cubicBezTo>
                    <a:pt x="99" y="190"/>
                    <a:pt x="86" y="187"/>
                    <a:pt x="73" y="183"/>
                  </a:cubicBezTo>
                  <a:cubicBezTo>
                    <a:pt x="61" y="179"/>
                    <a:pt x="50" y="173"/>
                    <a:pt x="40" y="167"/>
                  </a:cubicBezTo>
                  <a:cubicBezTo>
                    <a:pt x="30" y="160"/>
                    <a:pt x="22" y="152"/>
                    <a:pt x="16" y="142"/>
                  </a:cubicBezTo>
                  <a:cubicBezTo>
                    <a:pt x="11" y="132"/>
                    <a:pt x="8" y="120"/>
                    <a:pt x="8" y="106"/>
                  </a:cubicBezTo>
                  <a:cubicBezTo>
                    <a:pt x="8" y="84"/>
                    <a:pt x="12" y="67"/>
                    <a:pt x="20" y="53"/>
                  </a:cubicBezTo>
                  <a:cubicBezTo>
                    <a:pt x="28" y="40"/>
                    <a:pt x="39" y="29"/>
                    <a:pt x="53" y="21"/>
                  </a:cubicBezTo>
                  <a:cubicBezTo>
                    <a:pt x="66" y="14"/>
                    <a:pt x="81" y="8"/>
                    <a:pt x="98" y="5"/>
                  </a:cubicBezTo>
                  <a:cubicBezTo>
                    <a:pt x="115" y="2"/>
                    <a:pt x="133" y="0"/>
                    <a:pt x="150" y="0"/>
                  </a:cubicBezTo>
                  <a:cubicBezTo>
                    <a:pt x="168" y="0"/>
                    <a:pt x="185" y="2"/>
                    <a:pt x="202" y="5"/>
                  </a:cubicBezTo>
                  <a:cubicBezTo>
                    <a:pt x="219" y="9"/>
                    <a:pt x="234" y="14"/>
                    <a:pt x="247" y="22"/>
                  </a:cubicBezTo>
                  <a:cubicBezTo>
                    <a:pt x="260" y="30"/>
                    <a:pt x="271" y="41"/>
                    <a:pt x="280" y="54"/>
                  </a:cubicBezTo>
                  <a:cubicBezTo>
                    <a:pt x="288" y="68"/>
                    <a:pt x="294" y="85"/>
                    <a:pt x="295" y="105"/>
                  </a:cubicBezTo>
                  <a:cubicBezTo>
                    <a:pt x="210" y="105"/>
                    <a:pt x="210" y="105"/>
                    <a:pt x="210" y="105"/>
                  </a:cubicBezTo>
                  <a:cubicBezTo>
                    <a:pt x="208" y="88"/>
                    <a:pt x="202" y="76"/>
                    <a:pt x="190" y="70"/>
                  </a:cubicBezTo>
                  <a:cubicBezTo>
                    <a:pt x="178" y="64"/>
                    <a:pt x="164" y="60"/>
                    <a:pt x="148" y="60"/>
                  </a:cubicBezTo>
                  <a:cubicBezTo>
                    <a:pt x="143" y="60"/>
                    <a:pt x="137" y="61"/>
                    <a:pt x="131" y="61"/>
                  </a:cubicBezTo>
                  <a:cubicBezTo>
                    <a:pt x="125" y="62"/>
                    <a:pt x="120" y="63"/>
                    <a:pt x="115" y="66"/>
                  </a:cubicBezTo>
                  <a:cubicBezTo>
                    <a:pt x="110" y="68"/>
                    <a:pt x="106" y="71"/>
                    <a:pt x="103" y="75"/>
                  </a:cubicBezTo>
                  <a:cubicBezTo>
                    <a:pt x="99" y="79"/>
                    <a:pt x="98" y="84"/>
                    <a:pt x="98" y="91"/>
                  </a:cubicBezTo>
                  <a:cubicBezTo>
                    <a:pt x="98" y="99"/>
                    <a:pt x="101" y="106"/>
                    <a:pt x="107" y="111"/>
                  </a:cubicBezTo>
                  <a:cubicBezTo>
                    <a:pt x="113" y="116"/>
                    <a:pt x="120" y="120"/>
                    <a:pt x="130" y="123"/>
                  </a:cubicBezTo>
                  <a:cubicBezTo>
                    <a:pt x="139" y="126"/>
                    <a:pt x="150" y="129"/>
                    <a:pt x="163" y="132"/>
                  </a:cubicBezTo>
                  <a:cubicBezTo>
                    <a:pt x="175" y="134"/>
                    <a:pt x="187" y="137"/>
                    <a:pt x="200" y="140"/>
                  </a:cubicBezTo>
                  <a:cubicBezTo>
                    <a:pt x="213" y="143"/>
                    <a:pt x="226" y="146"/>
                    <a:pt x="238" y="151"/>
                  </a:cubicBezTo>
                  <a:cubicBezTo>
                    <a:pt x="251" y="155"/>
                    <a:pt x="262" y="160"/>
                    <a:pt x="272" y="167"/>
                  </a:cubicBezTo>
                  <a:cubicBezTo>
                    <a:pt x="281" y="174"/>
                    <a:pt x="289" y="183"/>
                    <a:pt x="295" y="193"/>
                  </a:cubicBezTo>
                  <a:cubicBezTo>
                    <a:pt x="301" y="204"/>
                    <a:pt x="304" y="217"/>
                    <a:pt x="304" y="232"/>
                  </a:cubicBezTo>
                  <a:cubicBezTo>
                    <a:pt x="304" y="253"/>
                    <a:pt x="300" y="272"/>
                    <a:pt x="291" y="286"/>
                  </a:cubicBezTo>
                  <a:cubicBezTo>
                    <a:pt x="282" y="301"/>
                    <a:pt x="271" y="313"/>
                    <a:pt x="257" y="321"/>
                  </a:cubicBezTo>
                  <a:cubicBezTo>
                    <a:pt x="243" y="330"/>
                    <a:pt x="227" y="337"/>
                    <a:pt x="209" y="340"/>
                  </a:cubicBezTo>
                  <a:cubicBezTo>
                    <a:pt x="191" y="344"/>
                    <a:pt x="173" y="346"/>
                    <a:pt x="154" y="346"/>
                  </a:cubicBezTo>
                  <a:cubicBezTo>
                    <a:pt x="135" y="346"/>
                    <a:pt x="117" y="344"/>
                    <a:pt x="98"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3" name="Freeform 12">
              <a:extLst>
                <a:ext uri="{FF2B5EF4-FFF2-40B4-BE49-F238E27FC236}">
                  <a16:creationId xmlns:a16="http://schemas.microsoft.com/office/drawing/2014/main" id="{3E6B9B1D-1721-49CD-9807-AB8E27D7AA9B}"/>
                </a:ext>
              </a:extLst>
            </p:cNvPr>
            <p:cNvSpPr>
              <a:spLocks noGrp="1" noRot="1" noMove="1" noResize="1" noEditPoints="1" noAdjustHandles="1" noChangeArrowheads="1" noChangeShapeType="1"/>
            </p:cNvSpPr>
            <p:nvPr/>
          </p:nvSpPr>
          <p:spPr bwMode="auto">
            <a:xfrm>
              <a:off x="2811463" y="4238625"/>
              <a:ext cx="206375" cy="236538"/>
            </a:xfrm>
            <a:custGeom>
              <a:avLst/>
              <a:gdLst>
                <a:gd name="T0" fmla="*/ 92 w 304"/>
                <a:gd name="T1" fmla="*/ 256 h 346"/>
                <a:gd name="T2" fmla="*/ 107 w 304"/>
                <a:gd name="T3" fmla="*/ 273 h 346"/>
                <a:gd name="T4" fmla="*/ 129 w 304"/>
                <a:gd name="T5" fmla="*/ 283 h 346"/>
                <a:gd name="T6" fmla="*/ 155 w 304"/>
                <a:gd name="T7" fmla="*/ 286 h 346"/>
                <a:gd name="T8" fmla="*/ 175 w 304"/>
                <a:gd name="T9" fmla="*/ 284 h 346"/>
                <a:gd name="T10" fmla="*/ 194 w 304"/>
                <a:gd name="T11" fmla="*/ 277 h 346"/>
                <a:gd name="T12" fmla="*/ 208 w 304"/>
                <a:gd name="T13" fmla="*/ 264 h 346"/>
                <a:gd name="T14" fmla="*/ 214 w 304"/>
                <a:gd name="T15" fmla="*/ 244 h 346"/>
                <a:gd name="T16" fmla="*/ 187 w 304"/>
                <a:gd name="T17" fmla="*/ 213 h 346"/>
                <a:gd name="T18" fmla="*/ 112 w 304"/>
                <a:gd name="T19" fmla="*/ 193 h 346"/>
                <a:gd name="T20" fmla="*/ 73 w 304"/>
                <a:gd name="T21" fmla="*/ 183 h 346"/>
                <a:gd name="T22" fmla="*/ 40 w 304"/>
                <a:gd name="T23" fmla="*/ 167 h 346"/>
                <a:gd name="T24" fmla="*/ 16 w 304"/>
                <a:gd name="T25" fmla="*/ 142 h 346"/>
                <a:gd name="T26" fmla="*/ 8 w 304"/>
                <a:gd name="T27" fmla="*/ 106 h 346"/>
                <a:gd name="T28" fmla="*/ 20 w 304"/>
                <a:gd name="T29" fmla="*/ 53 h 346"/>
                <a:gd name="T30" fmla="*/ 53 w 304"/>
                <a:gd name="T31" fmla="*/ 21 h 346"/>
                <a:gd name="T32" fmla="*/ 98 w 304"/>
                <a:gd name="T33" fmla="*/ 5 h 346"/>
                <a:gd name="T34" fmla="*/ 150 w 304"/>
                <a:gd name="T35" fmla="*/ 0 h 346"/>
                <a:gd name="T36" fmla="*/ 202 w 304"/>
                <a:gd name="T37" fmla="*/ 5 h 346"/>
                <a:gd name="T38" fmla="*/ 247 w 304"/>
                <a:gd name="T39" fmla="*/ 22 h 346"/>
                <a:gd name="T40" fmla="*/ 280 w 304"/>
                <a:gd name="T41" fmla="*/ 54 h 346"/>
                <a:gd name="T42" fmla="*/ 295 w 304"/>
                <a:gd name="T43" fmla="*/ 105 h 346"/>
                <a:gd name="T44" fmla="*/ 209 w 304"/>
                <a:gd name="T45" fmla="*/ 105 h 346"/>
                <a:gd name="T46" fmla="*/ 190 w 304"/>
                <a:gd name="T47" fmla="*/ 70 h 346"/>
                <a:gd name="T48" fmla="*/ 148 w 304"/>
                <a:gd name="T49" fmla="*/ 60 h 346"/>
                <a:gd name="T50" fmla="*/ 131 w 304"/>
                <a:gd name="T51" fmla="*/ 61 h 346"/>
                <a:gd name="T52" fmla="*/ 115 w 304"/>
                <a:gd name="T53" fmla="*/ 66 h 346"/>
                <a:gd name="T54" fmla="*/ 103 w 304"/>
                <a:gd name="T55" fmla="*/ 75 h 346"/>
                <a:gd name="T56" fmla="*/ 98 w 304"/>
                <a:gd name="T57" fmla="*/ 91 h 346"/>
                <a:gd name="T58" fmla="*/ 107 w 304"/>
                <a:gd name="T59" fmla="*/ 111 h 346"/>
                <a:gd name="T60" fmla="*/ 130 w 304"/>
                <a:gd name="T61" fmla="*/ 123 h 346"/>
                <a:gd name="T62" fmla="*/ 162 w 304"/>
                <a:gd name="T63" fmla="*/ 132 h 346"/>
                <a:gd name="T64" fmla="*/ 200 w 304"/>
                <a:gd name="T65" fmla="*/ 140 h 346"/>
                <a:gd name="T66" fmla="*/ 238 w 304"/>
                <a:gd name="T67" fmla="*/ 151 h 346"/>
                <a:gd name="T68" fmla="*/ 272 w 304"/>
                <a:gd name="T69" fmla="*/ 167 h 346"/>
                <a:gd name="T70" fmla="*/ 295 w 304"/>
                <a:gd name="T71" fmla="*/ 193 h 346"/>
                <a:gd name="T72" fmla="*/ 304 w 304"/>
                <a:gd name="T73" fmla="*/ 232 h 346"/>
                <a:gd name="T74" fmla="*/ 291 w 304"/>
                <a:gd name="T75" fmla="*/ 286 h 346"/>
                <a:gd name="T76" fmla="*/ 257 w 304"/>
                <a:gd name="T77" fmla="*/ 321 h 346"/>
                <a:gd name="T78" fmla="*/ 209 w 304"/>
                <a:gd name="T79" fmla="*/ 340 h 346"/>
                <a:gd name="T80" fmla="*/ 154 w 304"/>
                <a:gd name="T81" fmla="*/ 346 h 346"/>
                <a:gd name="T82" fmla="*/ 98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7" y="273"/>
                  </a:cubicBezTo>
                  <a:cubicBezTo>
                    <a:pt x="114" y="277"/>
                    <a:pt x="121" y="281"/>
                    <a:pt x="129" y="283"/>
                  </a:cubicBezTo>
                  <a:cubicBezTo>
                    <a:pt x="137" y="285"/>
                    <a:pt x="146" y="286"/>
                    <a:pt x="155" y="286"/>
                  </a:cubicBezTo>
                  <a:cubicBezTo>
                    <a:pt x="161" y="286"/>
                    <a:pt x="168" y="285"/>
                    <a:pt x="175" y="284"/>
                  </a:cubicBezTo>
                  <a:cubicBezTo>
                    <a:pt x="182" y="282"/>
                    <a:pt x="188" y="280"/>
                    <a:pt x="194" y="277"/>
                  </a:cubicBezTo>
                  <a:cubicBezTo>
                    <a:pt x="200" y="273"/>
                    <a:pt x="204" y="269"/>
                    <a:pt x="208" y="264"/>
                  </a:cubicBezTo>
                  <a:cubicBezTo>
                    <a:pt x="212" y="259"/>
                    <a:pt x="214" y="252"/>
                    <a:pt x="214" y="244"/>
                  </a:cubicBezTo>
                  <a:cubicBezTo>
                    <a:pt x="214" y="230"/>
                    <a:pt x="205" y="220"/>
                    <a:pt x="187" y="213"/>
                  </a:cubicBezTo>
                  <a:cubicBezTo>
                    <a:pt x="169" y="207"/>
                    <a:pt x="144" y="200"/>
                    <a:pt x="112" y="193"/>
                  </a:cubicBezTo>
                  <a:cubicBezTo>
                    <a:pt x="99" y="190"/>
                    <a:pt x="86" y="187"/>
                    <a:pt x="73" y="183"/>
                  </a:cubicBezTo>
                  <a:cubicBezTo>
                    <a:pt x="61" y="179"/>
                    <a:pt x="50" y="173"/>
                    <a:pt x="40" y="167"/>
                  </a:cubicBezTo>
                  <a:cubicBezTo>
                    <a:pt x="30" y="160"/>
                    <a:pt x="22" y="152"/>
                    <a:pt x="16" y="142"/>
                  </a:cubicBezTo>
                  <a:cubicBezTo>
                    <a:pt x="11" y="132"/>
                    <a:pt x="8" y="120"/>
                    <a:pt x="8" y="106"/>
                  </a:cubicBezTo>
                  <a:cubicBezTo>
                    <a:pt x="8" y="84"/>
                    <a:pt x="12" y="67"/>
                    <a:pt x="20" y="53"/>
                  </a:cubicBezTo>
                  <a:cubicBezTo>
                    <a:pt x="28" y="40"/>
                    <a:pt x="39" y="29"/>
                    <a:pt x="53" y="21"/>
                  </a:cubicBezTo>
                  <a:cubicBezTo>
                    <a:pt x="66" y="14"/>
                    <a:pt x="81" y="8"/>
                    <a:pt x="98" y="5"/>
                  </a:cubicBezTo>
                  <a:cubicBezTo>
                    <a:pt x="115" y="2"/>
                    <a:pt x="133" y="0"/>
                    <a:pt x="150" y="0"/>
                  </a:cubicBezTo>
                  <a:cubicBezTo>
                    <a:pt x="168" y="0"/>
                    <a:pt x="185" y="2"/>
                    <a:pt x="202" y="5"/>
                  </a:cubicBezTo>
                  <a:cubicBezTo>
                    <a:pt x="219" y="9"/>
                    <a:pt x="234" y="14"/>
                    <a:pt x="247" y="22"/>
                  </a:cubicBezTo>
                  <a:cubicBezTo>
                    <a:pt x="260" y="30"/>
                    <a:pt x="271" y="41"/>
                    <a:pt x="280" y="54"/>
                  </a:cubicBezTo>
                  <a:cubicBezTo>
                    <a:pt x="288" y="68"/>
                    <a:pt x="294" y="85"/>
                    <a:pt x="295" y="105"/>
                  </a:cubicBezTo>
                  <a:cubicBezTo>
                    <a:pt x="209" y="105"/>
                    <a:pt x="209" y="105"/>
                    <a:pt x="209" y="105"/>
                  </a:cubicBezTo>
                  <a:cubicBezTo>
                    <a:pt x="208" y="88"/>
                    <a:pt x="202" y="76"/>
                    <a:pt x="190" y="70"/>
                  </a:cubicBezTo>
                  <a:cubicBezTo>
                    <a:pt x="178" y="64"/>
                    <a:pt x="164" y="60"/>
                    <a:pt x="148" y="60"/>
                  </a:cubicBezTo>
                  <a:cubicBezTo>
                    <a:pt x="143" y="60"/>
                    <a:pt x="137" y="61"/>
                    <a:pt x="131" y="61"/>
                  </a:cubicBezTo>
                  <a:cubicBezTo>
                    <a:pt x="125" y="62"/>
                    <a:pt x="120" y="63"/>
                    <a:pt x="115" y="66"/>
                  </a:cubicBezTo>
                  <a:cubicBezTo>
                    <a:pt x="110" y="68"/>
                    <a:pt x="106" y="71"/>
                    <a:pt x="103" y="75"/>
                  </a:cubicBezTo>
                  <a:cubicBezTo>
                    <a:pt x="99" y="79"/>
                    <a:pt x="98" y="84"/>
                    <a:pt x="98" y="91"/>
                  </a:cubicBezTo>
                  <a:cubicBezTo>
                    <a:pt x="98" y="99"/>
                    <a:pt x="101" y="106"/>
                    <a:pt x="107" y="111"/>
                  </a:cubicBezTo>
                  <a:cubicBezTo>
                    <a:pt x="113" y="116"/>
                    <a:pt x="120" y="120"/>
                    <a:pt x="130" y="123"/>
                  </a:cubicBezTo>
                  <a:cubicBezTo>
                    <a:pt x="139" y="126"/>
                    <a:pt x="150" y="129"/>
                    <a:pt x="162" y="132"/>
                  </a:cubicBezTo>
                  <a:cubicBezTo>
                    <a:pt x="175" y="134"/>
                    <a:pt x="187" y="137"/>
                    <a:pt x="200" y="140"/>
                  </a:cubicBezTo>
                  <a:cubicBezTo>
                    <a:pt x="213" y="143"/>
                    <a:pt x="226" y="146"/>
                    <a:pt x="238" y="151"/>
                  </a:cubicBezTo>
                  <a:cubicBezTo>
                    <a:pt x="251" y="155"/>
                    <a:pt x="262" y="160"/>
                    <a:pt x="272" y="167"/>
                  </a:cubicBezTo>
                  <a:cubicBezTo>
                    <a:pt x="281" y="174"/>
                    <a:pt x="289" y="183"/>
                    <a:pt x="295" y="193"/>
                  </a:cubicBezTo>
                  <a:cubicBezTo>
                    <a:pt x="301" y="204"/>
                    <a:pt x="304" y="217"/>
                    <a:pt x="304" y="232"/>
                  </a:cubicBezTo>
                  <a:cubicBezTo>
                    <a:pt x="304" y="253"/>
                    <a:pt x="300" y="272"/>
                    <a:pt x="291" y="286"/>
                  </a:cubicBezTo>
                  <a:cubicBezTo>
                    <a:pt x="282" y="301"/>
                    <a:pt x="271" y="313"/>
                    <a:pt x="257" y="321"/>
                  </a:cubicBezTo>
                  <a:cubicBezTo>
                    <a:pt x="243" y="330"/>
                    <a:pt x="227" y="337"/>
                    <a:pt x="209" y="340"/>
                  </a:cubicBezTo>
                  <a:cubicBezTo>
                    <a:pt x="191" y="344"/>
                    <a:pt x="173" y="346"/>
                    <a:pt x="154" y="346"/>
                  </a:cubicBezTo>
                  <a:cubicBezTo>
                    <a:pt x="135" y="346"/>
                    <a:pt x="117" y="344"/>
                    <a:pt x="98"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4" name="Rectangle 13">
              <a:extLst>
                <a:ext uri="{FF2B5EF4-FFF2-40B4-BE49-F238E27FC236}">
                  <a16:creationId xmlns:a16="http://schemas.microsoft.com/office/drawing/2014/main" id="{3BF6698F-25C6-4D98-8BD0-8EE77A647FF2}"/>
                </a:ext>
              </a:extLst>
            </p:cNvPr>
            <p:cNvSpPr>
              <a:spLocks noGrp="1" noRot="1" noMove="1" noResize="1" noEditPoints="1" noAdjustHandles="1" noChangeArrowheads="1" noChangeShapeType="1"/>
            </p:cNvSpPr>
            <p:nvPr/>
          </p:nvSpPr>
          <p:spPr bwMode="auto">
            <a:xfrm>
              <a:off x="569913" y="4057650"/>
              <a:ext cx="514350" cy="514350"/>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5" name="Freeform 14">
              <a:extLst>
                <a:ext uri="{FF2B5EF4-FFF2-40B4-BE49-F238E27FC236}">
                  <a16:creationId xmlns:a16="http://schemas.microsoft.com/office/drawing/2014/main" id="{56E33B80-270E-429D-8746-588F411AF64A}"/>
                </a:ext>
              </a:extLst>
            </p:cNvPr>
            <p:cNvSpPr>
              <a:spLocks noGrp="1" noRot="1" noMove="1" noResize="1" noEditPoints="1" noAdjustHandles="1" noChangeArrowheads="1" noChangeShapeType="1"/>
            </p:cNvSpPr>
            <p:nvPr/>
          </p:nvSpPr>
          <p:spPr bwMode="auto">
            <a:xfrm>
              <a:off x="727076" y="4454525"/>
              <a:ext cx="63500" cy="74613"/>
            </a:xfrm>
            <a:custGeom>
              <a:avLst/>
              <a:gdLst>
                <a:gd name="T0" fmla="*/ 66 w 93"/>
                <a:gd name="T1" fmla="*/ 98 h 109"/>
                <a:gd name="T2" fmla="*/ 31 w 93"/>
                <a:gd name="T3" fmla="*/ 109 h 109"/>
                <a:gd name="T4" fmla="*/ 0 w 93"/>
                <a:gd name="T5" fmla="*/ 78 h 109"/>
                <a:gd name="T6" fmla="*/ 66 w 93"/>
                <a:gd name="T7" fmla="*/ 37 h 109"/>
                <a:gd name="T8" fmla="*/ 66 w 93"/>
                <a:gd name="T9" fmla="*/ 31 h 109"/>
                <a:gd name="T10" fmla="*/ 50 w 93"/>
                <a:gd name="T11" fmla="*/ 19 h 109"/>
                <a:gd name="T12" fmla="*/ 24 w 93"/>
                <a:gd name="T13" fmla="*/ 31 h 109"/>
                <a:gd name="T14" fmla="*/ 5 w 93"/>
                <a:gd name="T15" fmla="*/ 21 h 109"/>
                <a:gd name="T16" fmla="*/ 50 w 93"/>
                <a:gd name="T17" fmla="*/ 0 h 109"/>
                <a:gd name="T18" fmla="*/ 93 w 93"/>
                <a:gd name="T19" fmla="*/ 31 h 109"/>
                <a:gd name="T20" fmla="*/ 93 w 93"/>
                <a:gd name="T21" fmla="*/ 108 h 109"/>
                <a:gd name="T22" fmla="*/ 68 w 93"/>
                <a:gd name="T23" fmla="*/ 108 h 109"/>
                <a:gd name="T24" fmla="*/ 66 w 93"/>
                <a:gd name="T25" fmla="*/ 98 h 109"/>
                <a:gd name="T26" fmla="*/ 27 w 93"/>
                <a:gd name="T27" fmla="*/ 76 h 109"/>
                <a:gd name="T28" fmla="*/ 40 w 93"/>
                <a:gd name="T29" fmla="*/ 90 h 109"/>
                <a:gd name="T30" fmla="*/ 65 w 93"/>
                <a:gd name="T31" fmla="*/ 79 h 109"/>
                <a:gd name="T32" fmla="*/ 65 w 93"/>
                <a:gd name="T33" fmla="*/ 54 h 109"/>
                <a:gd name="T34" fmla="*/ 27 w 93"/>
                <a:gd name="T35" fmla="*/ 7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8"/>
                  </a:moveTo>
                  <a:cubicBezTo>
                    <a:pt x="55" y="105"/>
                    <a:pt x="44" y="109"/>
                    <a:pt x="31" y="109"/>
                  </a:cubicBezTo>
                  <a:cubicBezTo>
                    <a:pt x="11" y="109"/>
                    <a:pt x="0" y="96"/>
                    <a:pt x="0" y="78"/>
                  </a:cubicBezTo>
                  <a:cubicBezTo>
                    <a:pt x="0" y="55"/>
                    <a:pt x="21" y="42"/>
                    <a:pt x="66" y="37"/>
                  </a:cubicBezTo>
                  <a:cubicBezTo>
                    <a:pt x="66" y="31"/>
                    <a:pt x="66" y="31"/>
                    <a:pt x="66" y="31"/>
                  </a:cubicBezTo>
                  <a:cubicBezTo>
                    <a:pt x="66" y="24"/>
                    <a:pt x="60" y="19"/>
                    <a:pt x="50" y="19"/>
                  </a:cubicBezTo>
                  <a:cubicBezTo>
                    <a:pt x="39" y="19"/>
                    <a:pt x="30" y="24"/>
                    <a:pt x="24" y="31"/>
                  </a:cubicBezTo>
                  <a:cubicBezTo>
                    <a:pt x="5" y="21"/>
                    <a:pt x="5" y="21"/>
                    <a:pt x="5" y="21"/>
                  </a:cubicBezTo>
                  <a:cubicBezTo>
                    <a:pt x="15" y="7"/>
                    <a:pt x="30" y="0"/>
                    <a:pt x="50" y="0"/>
                  </a:cubicBezTo>
                  <a:cubicBezTo>
                    <a:pt x="77" y="0"/>
                    <a:pt x="93" y="12"/>
                    <a:pt x="93" y="31"/>
                  </a:cubicBezTo>
                  <a:cubicBezTo>
                    <a:pt x="93" y="31"/>
                    <a:pt x="93" y="107"/>
                    <a:pt x="93" y="108"/>
                  </a:cubicBezTo>
                  <a:cubicBezTo>
                    <a:pt x="68" y="108"/>
                    <a:pt x="68" y="108"/>
                    <a:pt x="68" y="108"/>
                  </a:cubicBezTo>
                  <a:lnTo>
                    <a:pt x="66" y="98"/>
                  </a:lnTo>
                  <a:close/>
                  <a:moveTo>
                    <a:pt x="27" y="76"/>
                  </a:moveTo>
                  <a:cubicBezTo>
                    <a:pt x="27" y="83"/>
                    <a:pt x="32" y="90"/>
                    <a:pt x="40" y="90"/>
                  </a:cubicBezTo>
                  <a:cubicBezTo>
                    <a:pt x="48" y="90"/>
                    <a:pt x="57" y="86"/>
                    <a:pt x="65" y="79"/>
                  </a:cubicBezTo>
                  <a:cubicBezTo>
                    <a:pt x="65" y="54"/>
                    <a:pt x="65" y="54"/>
                    <a:pt x="65" y="54"/>
                  </a:cubicBezTo>
                  <a:cubicBezTo>
                    <a:pt x="39" y="57"/>
                    <a:pt x="27" y="64"/>
                    <a:pt x="27"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 name="Freeform 15">
              <a:extLst>
                <a:ext uri="{FF2B5EF4-FFF2-40B4-BE49-F238E27FC236}">
                  <a16:creationId xmlns:a16="http://schemas.microsoft.com/office/drawing/2014/main" id="{8395EA3D-C719-4A3F-A131-4125CAAF790C}"/>
                </a:ext>
              </a:extLst>
            </p:cNvPr>
            <p:cNvSpPr>
              <a:spLocks noGrp="1" noRot="1" noMove="1" noResize="1" noEditPoints="1" noAdjustHandles="1" noChangeArrowheads="1" noChangeShapeType="1"/>
            </p:cNvSpPr>
            <p:nvPr/>
          </p:nvSpPr>
          <p:spPr bwMode="auto">
            <a:xfrm>
              <a:off x="806451" y="4454525"/>
              <a:ext cx="63500" cy="73025"/>
            </a:xfrm>
            <a:custGeom>
              <a:avLst/>
              <a:gdLst>
                <a:gd name="T0" fmla="*/ 0 w 94"/>
                <a:gd name="T1" fmla="*/ 5 h 107"/>
                <a:gd name="T2" fmla="*/ 23 w 94"/>
                <a:gd name="T3" fmla="*/ 2 h 107"/>
                <a:gd name="T4" fmla="*/ 25 w 94"/>
                <a:gd name="T5" fmla="*/ 14 h 107"/>
                <a:gd name="T6" fmla="*/ 61 w 94"/>
                <a:gd name="T7" fmla="*/ 0 h 107"/>
                <a:gd name="T8" fmla="*/ 94 w 94"/>
                <a:gd name="T9" fmla="*/ 34 h 107"/>
                <a:gd name="T10" fmla="*/ 94 w 94"/>
                <a:gd name="T11" fmla="*/ 107 h 107"/>
                <a:gd name="T12" fmla="*/ 66 w 94"/>
                <a:gd name="T13" fmla="*/ 107 h 107"/>
                <a:gd name="T14" fmla="*/ 66 w 94"/>
                <a:gd name="T15" fmla="*/ 39 h 107"/>
                <a:gd name="T16" fmla="*/ 53 w 94"/>
                <a:gd name="T17" fmla="*/ 20 h 107"/>
                <a:gd name="T18" fmla="*/ 27 w 94"/>
                <a:gd name="T19" fmla="*/ 32 h 107"/>
                <a:gd name="T20" fmla="*/ 27 w 94"/>
                <a:gd name="T21" fmla="*/ 107 h 107"/>
                <a:gd name="T22" fmla="*/ 0 w 94"/>
                <a:gd name="T23" fmla="*/ 107 h 107"/>
                <a:gd name="T24" fmla="*/ 0 w 94"/>
                <a:gd name="T25"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7">
                  <a:moveTo>
                    <a:pt x="0" y="5"/>
                  </a:moveTo>
                  <a:cubicBezTo>
                    <a:pt x="23" y="2"/>
                    <a:pt x="23" y="2"/>
                    <a:pt x="23" y="2"/>
                  </a:cubicBezTo>
                  <a:cubicBezTo>
                    <a:pt x="25" y="14"/>
                    <a:pt x="25" y="14"/>
                    <a:pt x="25" y="14"/>
                  </a:cubicBezTo>
                  <a:cubicBezTo>
                    <a:pt x="38" y="5"/>
                    <a:pt x="48" y="0"/>
                    <a:pt x="61" y="0"/>
                  </a:cubicBezTo>
                  <a:cubicBezTo>
                    <a:pt x="83" y="0"/>
                    <a:pt x="94" y="11"/>
                    <a:pt x="94" y="34"/>
                  </a:cubicBezTo>
                  <a:cubicBezTo>
                    <a:pt x="94" y="107"/>
                    <a:pt x="94" y="107"/>
                    <a:pt x="94" y="107"/>
                  </a:cubicBezTo>
                  <a:cubicBezTo>
                    <a:pt x="66" y="107"/>
                    <a:pt x="66" y="107"/>
                    <a:pt x="66" y="107"/>
                  </a:cubicBezTo>
                  <a:cubicBezTo>
                    <a:pt x="66" y="39"/>
                    <a:pt x="66" y="39"/>
                    <a:pt x="66" y="39"/>
                  </a:cubicBezTo>
                  <a:cubicBezTo>
                    <a:pt x="66" y="26"/>
                    <a:pt x="63" y="20"/>
                    <a:pt x="53" y="20"/>
                  </a:cubicBezTo>
                  <a:cubicBezTo>
                    <a:pt x="45" y="20"/>
                    <a:pt x="37" y="24"/>
                    <a:pt x="27" y="32"/>
                  </a:cubicBezTo>
                  <a:cubicBezTo>
                    <a:pt x="27" y="107"/>
                    <a:pt x="27" y="107"/>
                    <a:pt x="27" y="107"/>
                  </a:cubicBezTo>
                  <a:cubicBezTo>
                    <a:pt x="0" y="107"/>
                    <a:pt x="0" y="107"/>
                    <a:pt x="0" y="107"/>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7" name="Freeform 16">
              <a:extLst>
                <a:ext uri="{FF2B5EF4-FFF2-40B4-BE49-F238E27FC236}">
                  <a16:creationId xmlns:a16="http://schemas.microsoft.com/office/drawing/2014/main" id="{2F535571-531A-419E-B5CF-90E57D409260}"/>
                </a:ext>
              </a:extLst>
            </p:cNvPr>
            <p:cNvSpPr>
              <a:spLocks noGrp="1" noRot="1" noMove="1" noResize="1" noEditPoints="1" noAdjustHandles="1" noChangeArrowheads="1" noChangeShapeType="1"/>
            </p:cNvSpPr>
            <p:nvPr/>
          </p:nvSpPr>
          <p:spPr bwMode="auto">
            <a:xfrm>
              <a:off x="960438" y="4454525"/>
              <a:ext cx="66675" cy="74613"/>
            </a:xfrm>
            <a:custGeom>
              <a:avLst/>
              <a:gdLst>
                <a:gd name="T0" fmla="*/ 49 w 97"/>
                <a:gd name="T1" fmla="*/ 109 h 109"/>
                <a:gd name="T2" fmla="*/ 0 w 97"/>
                <a:gd name="T3" fmla="*/ 55 h 109"/>
                <a:gd name="T4" fmla="*/ 49 w 97"/>
                <a:gd name="T5" fmla="*/ 0 h 109"/>
                <a:gd name="T6" fmla="*/ 97 w 97"/>
                <a:gd name="T7" fmla="*/ 54 h 109"/>
                <a:gd name="T8" fmla="*/ 97 w 97"/>
                <a:gd name="T9" fmla="*/ 59 h 109"/>
                <a:gd name="T10" fmla="*/ 27 w 97"/>
                <a:gd name="T11" fmla="*/ 59 h 109"/>
                <a:gd name="T12" fmla="*/ 52 w 97"/>
                <a:gd name="T13" fmla="*/ 89 h 109"/>
                <a:gd name="T14" fmla="*/ 76 w 97"/>
                <a:gd name="T15" fmla="*/ 75 h 109"/>
                <a:gd name="T16" fmla="*/ 96 w 97"/>
                <a:gd name="T17" fmla="*/ 87 h 109"/>
                <a:gd name="T18" fmla="*/ 49 w 97"/>
                <a:gd name="T19" fmla="*/ 109 h 109"/>
                <a:gd name="T20" fmla="*/ 70 w 97"/>
                <a:gd name="T21" fmla="*/ 41 h 109"/>
                <a:gd name="T22" fmla="*/ 49 w 97"/>
                <a:gd name="T23" fmla="*/ 19 h 109"/>
                <a:gd name="T24" fmla="*/ 28 w 97"/>
                <a:gd name="T25" fmla="*/ 41 h 109"/>
                <a:gd name="T26" fmla="*/ 70 w 97"/>
                <a:gd name="T27" fmla="*/ 4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09">
                  <a:moveTo>
                    <a:pt x="49" y="109"/>
                  </a:moveTo>
                  <a:cubicBezTo>
                    <a:pt x="18" y="109"/>
                    <a:pt x="0" y="90"/>
                    <a:pt x="0" y="55"/>
                  </a:cubicBezTo>
                  <a:cubicBezTo>
                    <a:pt x="0" y="20"/>
                    <a:pt x="19" y="0"/>
                    <a:pt x="49" y="0"/>
                  </a:cubicBezTo>
                  <a:cubicBezTo>
                    <a:pt x="79" y="0"/>
                    <a:pt x="97" y="19"/>
                    <a:pt x="97" y="54"/>
                  </a:cubicBezTo>
                  <a:cubicBezTo>
                    <a:pt x="97" y="55"/>
                    <a:pt x="97" y="57"/>
                    <a:pt x="97" y="59"/>
                  </a:cubicBezTo>
                  <a:cubicBezTo>
                    <a:pt x="27" y="59"/>
                    <a:pt x="27" y="59"/>
                    <a:pt x="27" y="59"/>
                  </a:cubicBezTo>
                  <a:cubicBezTo>
                    <a:pt x="27" y="79"/>
                    <a:pt x="36" y="89"/>
                    <a:pt x="52" y="89"/>
                  </a:cubicBezTo>
                  <a:cubicBezTo>
                    <a:pt x="62" y="89"/>
                    <a:pt x="69" y="85"/>
                    <a:pt x="76" y="75"/>
                  </a:cubicBezTo>
                  <a:cubicBezTo>
                    <a:pt x="96" y="87"/>
                    <a:pt x="96" y="87"/>
                    <a:pt x="96" y="87"/>
                  </a:cubicBezTo>
                  <a:cubicBezTo>
                    <a:pt x="87" y="102"/>
                    <a:pt x="71" y="109"/>
                    <a:pt x="49" y="109"/>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8" name="Freeform 17">
              <a:extLst>
                <a:ext uri="{FF2B5EF4-FFF2-40B4-BE49-F238E27FC236}">
                  <a16:creationId xmlns:a16="http://schemas.microsoft.com/office/drawing/2014/main" id="{ABAC7ED4-1A0E-41AD-ADE8-8AC89F3CA83B}"/>
                </a:ext>
              </a:extLst>
            </p:cNvPr>
            <p:cNvSpPr>
              <a:spLocks noGrp="1" noRot="1" noMove="1" noResize="1" noEditPoints="1" noAdjustHandles="1" noChangeArrowheads="1" noChangeShapeType="1"/>
            </p:cNvSpPr>
            <p:nvPr/>
          </p:nvSpPr>
          <p:spPr bwMode="auto">
            <a:xfrm>
              <a:off x="598488" y="4454525"/>
              <a:ext cx="69850" cy="762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80" y="0"/>
                    <a:pt x="104" y="17"/>
                    <a:pt x="104" y="55"/>
                  </a:cubicBezTo>
                  <a:cubicBezTo>
                    <a:pt x="104" y="93"/>
                    <a:pt x="80" y="111"/>
                    <a:pt x="52" y="111"/>
                  </a:cubicBezTo>
                  <a:close/>
                  <a:moveTo>
                    <a:pt x="52" y="23"/>
                  </a:moveTo>
                  <a:cubicBezTo>
                    <a:pt x="32" y="23"/>
                    <a:pt x="28" y="42"/>
                    <a:pt x="28" y="55"/>
                  </a:cubicBezTo>
                  <a:cubicBezTo>
                    <a:pt x="28" y="69"/>
                    <a:pt x="32"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9" name="Freeform 18">
              <a:extLst>
                <a:ext uri="{FF2B5EF4-FFF2-40B4-BE49-F238E27FC236}">
                  <a16:creationId xmlns:a16="http://schemas.microsoft.com/office/drawing/2014/main" id="{8B414238-7310-458E-9C15-9BD135B12B57}"/>
                </a:ext>
              </a:extLst>
            </p:cNvPr>
            <p:cNvSpPr>
              <a:spLocks noGrp="1" noRot="1" noMove="1" noResize="1" noEditPoints="1" noAdjustHandles="1" noChangeArrowheads="1" noChangeShapeType="1"/>
            </p:cNvSpPr>
            <p:nvPr/>
          </p:nvSpPr>
          <p:spPr bwMode="auto">
            <a:xfrm>
              <a:off x="681038" y="4454525"/>
              <a:ext cx="41275" cy="74613"/>
            </a:xfrm>
            <a:custGeom>
              <a:avLst/>
              <a:gdLst>
                <a:gd name="T0" fmla="*/ 0 w 59"/>
                <a:gd name="T1" fmla="*/ 2 h 108"/>
                <a:gd name="T2" fmla="*/ 27 w 59"/>
                <a:gd name="T3" fmla="*/ 2 h 108"/>
                <a:gd name="T4" fmla="*/ 27 w 59"/>
                <a:gd name="T5" fmla="*/ 15 h 108"/>
                <a:gd name="T6" fmla="*/ 56 w 59"/>
                <a:gd name="T7" fmla="*/ 0 h 108"/>
                <a:gd name="T8" fmla="*/ 59 w 59"/>
                <a:gd name="T9" fmla="*/ 0 h 108"/>
                <a:gd name="T10" fmla="*/ 59 w 59"/>
                <a:gd name="T11" fmla="*/ 26 h 108"/>
                <a:gd name="T12" fmla="*/ 58 w 59"/>
                <a:gd name="T13" fmla="*/ 26 h 108"/>
                <a:gd name="T14" fmla="*/ 29 w 59"/>
                <a:gd name="T15" fmla="*/ 38 h 108"/>
                <a:gd name="T16" fmla="*/ 29 w 59"/>
                <a:gd name="T17" fmla="*/ 108 h 108"/>
                <a:gd name="T18" fmla="*/ 0 w 59"/>
                <a:gd name="T19" fmla="*/ 108 h 108"/>
                <a:gd name="T20" fmla="*/ 0 w 59"/>
                <a:gd name="T21"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2"/>
                  </a:moveTo>
                  <a:cubicBezTo>
                    <a:pt x="27" y="2"/>
                    <a:pt x="27" y="2"/>
                    <a:pt x="27" y="2"/>
                  </a:cubicBezTo>
                  <a:cubicBezTo>
                    <a:pt x="27" y="15"/>
                    <a:pt x="27" y="15"/>
                    <a:pt x="27" y="15"/>
                  </a:cubicBezTo>
                  <a:cubicBezTo>
                    <a:pt x="32" y="8"/>
                    <a:pt x="44" y="0"/>
                    <a:pt x="56" y="0"/>
                  </a:cubicBezTo>
                  <a:cubicBezTo>
                    <a:pt x="57" y="0"/>
                    <a:pt x="58" y="0"/>
                    <a:pt x="59" y="0"/>
                  </a:cubicBezTo>
                  <a:cubicBezTo>
                    <a:pt x="59" y="26"/>
                    <a:pt x="59" y="26"/>
                    <a:pt x="59" y="26"/>
                  </a:cubicBezTo>
                  <a:cubicBezTo>
                    <a:pt x="59" y="26"/>
                    <a:pt x="58" y="26"/>
                    <a:pt x="58" y="26"/>
                  </a:cubicBezTo>
                  <a:cubicBezTo>
                    <a:pt x="46" y="26"/>
                    <a:pt x="33" y="28"/>
                    <a:pt x="29" y="38"/>
                  </a:cubicBezTo>
                  <a:cubicBezTo>
                    <a:pt x="29" y="108"/>
                    <a:pt x="29" y="108"/>
                    <a:pt x="29" y="108"/>
                  </a:cubicBezTo>
                  <a:cubicBezTo>
                    <a:pt x="0" y="108"/>
                    <a:pt x="0" y="108"/>
                    <a:pt x="0" y="108"/>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0" name="Freeform 19">
              <a:extLst>
                <a:ext uri="{FF2B5EF4-FFF2-40B4-BE49-F238E27FC236}">
                  <a16:creationId xmlns:a16="http://schemas.microsoft.com/office/drawing/2014/main" id="{B156E558-F03B-4BE9-A819-A10409A46BCC}"/>
                </a:ext>
              </a:extLst>
            </p:cNvPr>
            <p:cNvSpPr>
              <a:spLocks noGrp="1" noRot="1" noMove="1" noResize="1" noEditPoints="1" noAdjustHandles="1" noChangeArrowheads="1" noChangeShapeType="1"/>
            </p:cNvSpPr>
            <p:nvPr/>
          </p:nvSpPr>
          <p:spPr bwMode="auto">
            <a:xfrm>
              <a:off x="882651" y="4454525"/>
              <a:ext cx="66675" cy="101600"/>
            </a:xfrm>
            <a:custGeom>
              <a:avLst/>
              <a:gdLst>
                <a:gd name="T0" fmla="*/ 49 w 98"/>
                <a:gd name="T1" fmla="*/ 85 h 149"/>
                <a:gd name="T2" fmla="*/ 72 w 98"/>
                <a:gd name="T3" fmla="*/ 49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8 h 149"/>
                <a:gd name="T16" fmla="*/ 3 w 98"/>
                <a:gd name="T17" fmla="*/ 122 h 149"/>
                <a:gd name="T18" fmla="*/ 30 w 98"/>
                <a:gd name="T19" fmla="*/ 118 h 149"/>
                <a:gd name="T20" fmla="*/ 50 w 98"/>
                <a:gd name="T21" fmla="*/ 128 h 149"/>
                <a:gd name="T22" fmla="*/ 71 w 98"/>
                <a:gd name="T23" fmla="*/ 105 h 149"/>
                <a:gd name="T24" fmla="*/ 71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3"/>
                    <a:pt x="72" y="49"/>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8"/>
                  </a:cubicBezTo>
                  <a:cubicBezTo>
                    <a:pt x="26" y="149"/>
                    <a:pt x="7" y="140"/>
                    <a:pt x="3" y="122"/>
                  </a:cubicBezTo>
                  <a:cubicBezTo>
                    <a:pt x="30" y="118"/>
                    <a:pt x="30" y="118"/>
                    <a:pt x="30" y="118"/>
                  </a:cubicBezTo>
                  <a:cubicBezTo>
                    <a:pt x="32" y="123"/>
                    <a:pt x="35" y="128"/>
                    <a:pt x="50" y="128"/>
                  </a:cubicBezTo>
                  <a:cubicBezTo>
                    <a:pt x="65" y="128"/>
                    <a:pt x="71" y="121"/>
                    <a:pt x="71" y="105"/>
                  </a:cubicBezTo>
                  <a:cubicBezTo>
                    <a:pt x="71" y="93"/>
                    <a:pt x="71" y="93"/>
                    <a:pt x="71"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1" name="Freeform 20">
              <a:extLst>
                <a:ext uri="{FF2B5EF4-FFF2-40B4-BE49-F238E27FC236}">
                  <a16:creationId xmlns:a16="http://schemas.microsoft.com/office/drawing/2014/main" id="{8AD2F3D5-B988-4CEC-91D2-17A637185159}"/>
                </a:ext>
              </a:extLst>
            </p:cNvPr>
            <p:cNvSpPr>
              <a:spLocks noGrp="1" noRot="1" noMove="1" noResize="1" noEditPoints="1" noAdjustHandles="1" noChangeArrowheads="1" noChangeShapeType="1"/>
            </p:cNvSpPr>
            <p:nvPr/>
          </p:nvSpPr>
          <p:spPr bwMode="auto">
            <a:xfrm>
              <a:off x="1016001" y="4429125"/>
              <a:ext cx="49213" cy="23813"/>
            </a:xfrm>
            <a:custGeom>
              <a:avLst/>
              <a:gdLst>
                <a:gd name="T0" fmla="*/ 12 w 31"/>
                <a:gd name="T1" fmla="*/ 2 h 15"/>
                <a:gd name="T2" fmla="*/ 7 w 31"/>
                <a:gd name="T3" fmla="*/ 2 h 15"/>
                <a:gd name="T4" fmla="*/ 7 w 31"/>
                <a:gd name="T5" fmla="*/ 15 h 15"/>
                <a:gd name="T6" fmla="*/ 5 w 31"/>
                <a:gd name="T7" fmla="*/ 15 h 15"/>
                <a:gd name="T8" fmla="*/ 5 w 31"/>
                <a:gd name="T9" fmla="*/ 2 h 15"/>
                <a:gd name="T10" fmla="*/ 0 w 31"/>
                <a:gd name="T11" fmla="*/ 2 h 15"/>
                <a:gd name="T12" fmla="*/ 0 w 31"/>
                <a:gd name="T13" fmla="*/ 0 h 15"/>
                <a:gd name="T14" fmla="*/ 12 w 31"/>
                <a:gd name="T15" fmla="*/ 0 h 15"/>
                <a:gd name="T16" fmla="*/ 12 w 31"/>
                <a:gd name="T17" fmla="*/ 2 h 15"/>
                <a:gd name="T18" fmla="*/ 31 w 31"/>
                <a:gd name="T19" fmla="*/ 15 h 15"/>
                <a:gd name="T20" fmla="*/ 29 w 31"/>
                <a:gd name="T21" fmla="*/ 15 h 15"/>
                <a:gd name="T22" fmla="*/ 29 w 31"/>
                <a:gd name="T23" fmla="*/ 3 h 15"/>
                <a:gd name="T24" fmla="*/ 29 w 31"/>
                <a:gd name="T25" fmla="*/ 3 h 15"/>
                <a:gd name="T26" fmla="*/ 24 w 31"/>
                <a:gd name="T27" fmla="*/ 15 h 15"/>
                <a:gd name="T28" fmla="*/ 22 w 31"/>
                <a:gd name="T29" fmla="*/ 15 h 15"/>
                <a:gd name="T30" fmla="*/ 17 w 31"/>
                <a:gd name="T31" fmla="*/ 3 h 15"/>
                <a:gd name="T32" fmla="*/ 17 w 31"/>
                <a:gd name="T33" fmla="*/ 3 h 15"/>
                <a:gd name="T34" fmla="*/ 17 w 31"/>
                <a:gd name="T35" fmla="*/ 15 h 15"/>
                <a:gd name="T36" fmla="*/ 15 w 31"/>
                <a:gd name="T37" fmla="*/ 15 h 15"/>
                <a:gd name="T38" fmla="*/ 15 w 31"/>
                <a:gd name="T39" fmla="*/ 0 h 15"/>
                <a:gd name="T40" fmla="*/ 19 w 31"/>
                <a:gd name="T41" fmla="*/ 0 h 15"/>
                <a:gd name="T42" fmla="*/ 23 w 31"/>
                <a:gd name="T43" fmla="*/ 12 h 15"/>
                <a:gd name="T44" fmla="*/ 28 w 31"/>
                <a:gd name="T45" fmla="*/ 0 h 15"/>
                <a:gd name="T46" fmla="*/ 31 w 31"/>
                <a:gd name="T47" fmla="*/ 0 h 15"/>
                <a:gd name="T48" fmla="*/ 31 w 31"/>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15">
                  <a:moveTo>
                    <a:pt x="12" y="2"/>
                  </a:moveTo>
                  <a:lnTo>
                    <a:pt x="7" y="2"/>
                  </a:lnTo>
                  <a:lnTo>
                    <a:pt x="7" y="15"/>
                  </a:lnTo>
                  <a:lnTo>
                    <a:pt x="5" y="15"/>
                  </a:lnTo>
                  <a:lnTo>
                    <a:pt x="5" y="2"/>
                  </a:lnTo>
                  <a:lnTo>
                    <a:pt x="0" y="2"/>
                  </a:lnTo>
                  <a:lnTo>
                    <a:pt x="0" y="0"/>
                  </a:lnTo>
                  <a:lnTo>
                    <a:pt x="12" y="0"/>
                  </a:lnTo>
                  <a:lnTo>
                    <a:pt x="12" y="2"/>
                  </a:lnTo>
                  <a:close/>
                  <a:moveTo>
                    <a:pt x="31" y="15"/>
                  </a:moveTo>
                  <a:lnTo>
                    <a:pt x="29" y="15"/>
                  </a:lnTo>
                  <a:lnTo>
                    <a:pt x="29" y="3"/>
                  </a:lnTo>
                  <a:lnTo>
                    <a:pt x="29" y="3"/>
                  </a:lnTo>
                  <a:lnTo>
                    <a:pt x="24" y="15"/>
                  </a:lnTo>
                  <a:lnTo>
                    <a:pt x="22" y="15"/>
                  </a:lnTo>
                  <a:lnTo>
                    <a:pt x="17" y="3"/>
                  </a:lnTo>
                  <a:lnTo>
                    <a:pt x="17" y="3"/>
                  </a:lnTo>
                  <a:lnTo>
                    <a:pt x="17" y="15"/>
                  </a:lnTo>
                  <a:lnTo>
                    <a:pt x="15" y="15"/>
                  </a:lnTo>
                  <a:lnTo>
                    <a:pt x="15" y="0"/>
                  </a:lnTo>
                  <a:lnTo>
                    <a:pt x="19" y="0"/>
                  </a:lnTo>
                  <a:lnTo>
                    <a:pt x="23" y="12"/>
                  </a:lnTo>
                  <a:lnTo>
                    <a:pt x="28" y="0"/>
                  </a:lnTo>
                  <a:lnTo>
                    <a:pt x="31" y="0"/>
                  </a:lnTo>
                  <a:lnTo>
                    <a:pt x="3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17" name="Text Placeholder"/>
          <p:cNvSpPr>
            <a:spLocks noGrp="1"/>
          </p:cNvSpPr>
          <p:nvPr>
            <p:ph type="body" sz="quarter" idx="16" hasCustomPrompt="1"/>
          </p:nvPr>
        </p:nvSpPr>
        <p:spPr>
          <a:xfrm>
            <a:off x="759885" y="3814234"/>
            <a:ext cx="4193116" cy="753532"/>
          </a:xfrm>
        </p:spPr>
        <p:txBody>
          <a:bodyPr/>
          <a:lstStyle>
            <a:lvl1pPr>
              <a:defRPr/>
            </a:lvl1pPr>
          </a:lstStyle>
          <a:p>
            <a:pPr lvl="0"/>
            <a:r>
              <a:rPr lang="en-US"/>
              <a:t>Edit text</a:t>
            </a:r>
          </a:p>
          <a:p>
            <a:pPr lvl="1"/>
            <a:r>
              <a:rPr lang="en-US"/>
              <a:t>Second level</a:t>
            </a:r>
          </a:p>
        </p:txBody>
      </p:sp>
      <p:sp>
        <p:nvSpPr>
          <p:cNvPr id="2" name="Text Placeholder"/>
          <p:cNvSpPr>
            <a:spLocks noGrp="1"/>
          </p:cNvSpPr>
          <p:nvPr>
            <p:ph type="ctrTitle" hasCustomPrompt="1"/>
          </p:nvPr>
        </p:nvSpPr>
        <p:spPr>
          <a:xfrm>
            <a:off x="759885" y="762001"/>
            <a:ext cx="4193116" cy="2669116"/>
          </a:xfrm>
        </p:spPr>
        <p:txBody>
          <a:bodyPr>
            <a:noAutofit/>
          </a:bodyPr>
          <a:lstStyle>
            <a:lvl1pPr algn="l">
              <a:lnSpc>
                <a:spcPct val="85000"/>
              </a:lnSpc>
              <a:defRPr sz="6000" baseline="0">
                <a:solidFill>
                  <a:schemeClr val="accent1"/>
                </a:solidFill>
              </a:defRPr>
            </a:lvl1pPr>
          </a:lstStyle>
          <a:p>
            <a:r>
              <a:rPr lang="en-US"/>
              <a:t>Edit title</a:t>
            </a:r>
            <a:endParaRPr lang="en-GB"/>
          </a:p>
        </p:txBody>
      </p:sp>
    </p:spTree>
    <p:extLst>
      <p:ext uri="{BB962C8B-B14F-4D97-AF65-F5344CB8AC3E}">
        <p14:creationId xmlns:p14="http://schemas.microsoft.com/office/powerpoint/2010/main" val="287368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tatic_Pixel_2">
    <p:spTree>
      <p:nvGrpSpPr>
        <p:cNvPr id="1" name=""/>
        <p:cNvGrpSpPr/>
        <p:nvPr/>
      </p:nvGrpSpPr>
      <p:grpSpPr>
        <a:xfrm>
          <a:off x="0" y="0"/>
          <a:ext cx="0" cy="0"/>
          <a:chOff x="0" y="0"/>
          <a:chExt cx="0" cy="0"/>
        </a:xfrm>
      </p:grpSpPr>
      <p:grpSp>
        <p:nvGrpSpPr>
          <p:cNvPr id="3" name="Pixels">
            <a:extLst>
              <a:ext uri="{FF2B5EF4-FFF2-40B4-BE49-F238E27FC236}">
                <a16:creationId xmlns:a16="http://schemas.microsoft.com/office/drawing/2014/main" id="{32B2C01B-8598-61AF-A0B1-4879F925A87F}"/>
              </a:ext>
            </a:extLst>
          </p:cNvPr>
          <p:cNvGrpSpPr>
            <a:grpSpLocks noGrp="1" noUngrp="1" noRot="1" noMove="1" noResize="1"/>
          </p:cNvGrpSpPr>
          <p:nvPr/>
        </p:nvGrpSpPr>
        <p:grpSpPr>
          <a:xfrm>
            <a:off x="0" y="0"/>
            <a:ext cx="12192000" cy="6858000"/>
            <a:chOff x="0" y="0"/>
            <a:chExt cx="9144000" cy="5143500"/>
          </a:xfrm>
          <a:solidFill>
            <a:schemeClr val="bg1"/>
          </a:solidFill>
        </p:grpSpPr>
        <p:sp>
          <p:nvSpPr>
            <p:cNvPr id="4" name="Freeform: Shape 3">
              <a:extLst>
                <a:ext uri="{FF2B5EF4-FFF2-40B4-BE49-F238E27FC236}">
                  <a16:creationId xmlns:a16="http://schemas.microsoft.com/office/drawing/2014/main" id="{E81100D8-B382-9CD3-2826-7FE42E96CC9F}"/>
                </a:ext>
              </a:extLst>
            </p:cNvPr>
            <p:cNvSpPr>
              <a:spLocks noGrp="1" noRot="1" noMove="1" noResize="1" noEditPoints="1" noAdjustHandles="1" noChangeArrowheads="1" noChangeShapeType="1"/>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 name="Freeform: Shape 5">
              <a:extLst>
                <a:ext uri="{FF2B5EF4-FFF2-40B4-BE49-F238E27FC236}">
                  <a16:creationId xmlns:a16="http://schemas.microsoft.com/office/drawing/2014/main" id="{5C800AC1-6D04-0E15-D7E7-0B26F2352DB5}"/>
                </a:ext>
              </a:extLst>
            </p:cNvPr>
            <p:cNvSpPr>
              <a:spLocks noGrp="1" noRot="1" noMove="1" noResize="1" noEditPoints="1" noAdjustHandles="1" noChangeArrowheads="1" noChangeShapeType="1"/>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 name="Freeform: Shape 6">
              <a:extLst>
                <a:ext uri="{FF2B5EF4-FFF2-40B4-BE49-F238E27FC236}">
                  <a16:creationId xmlns:a16="http://schemas.microsoft.com/office/drawing/2014/main" id="{54C2DFCE-D1AE-F568-2045-D2E3532253A1}"/>
                </a:ext>
              </a:extLst>
            </p:cNvPr>
            <p:cNvSpPr>
              <a:spLocks noGrp="1" noRot="1" noMove="1" noResize="1" noEditPoints="1" noAdjustHandles="1" noChangeArrowheads="1" noChangeShapeType="1"/>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 name="Freeform: Shape 7">
              <a:extLst>
                <a:ext uri="{FF2B5EF4-FFF2-40B4-BE49-F238E27FC236}">
                  <a16:creationId xmlns:a16="http://schemas.microsoft.com/office/drawing/2014/main" id="{B68A3046-4E87-67C7-FC6D-32716E10A2DE}"/>
                </a:ext>
              </a:extLst>
            </p:cNvPr>
            <p:cNvSpPr>
              <a:spLocks noGrp="1" noRot="1" noMove="1" noResize="1" noEditPoints="1" noAdjustHandles="1" noChangeArrowheads="1" noChangeShapeType="1"/>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 name="Freeform: Shape 8">
              <a:extLst>
                <a:ext uri="{FF2B5EF4-FFF2-40B4-BE49-F238E27FC236}">
                  <a16:creationId xmlns:a16="http://schemas.microsoft.com/office/drawing/2014/main" id="{BA180481-87DC-60CC-0EB4-1B3E51F874E4}"/>
                </a:ext>
              </a:extLst>
            </p:cNvPr>
            <p:cNvSpPr>
              <a:spLocks noGrp="1" noRot="1" noMove="1" noResize="1" noEditPoints="1" noAdjustHandles="1" noChangeArrowheads="1" noChangeShapeType="1"/>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 name="Freeform: Shape 9">
              <a:extLst>
                <a:ext uri="{FF2B5EF4-FFF2-40B4-BE49-F238E27FC236}">
                  <a16:creationId xmlns:a16="http://schemas.microsoft.com/office/drawing/2014/main" id="{04B995B1-C86D-09AE-7C9F-B6AEF9A1FA67}"/>
                </a:ext>
              </a:extLst>
            </p:cNvPr>
            <p:cNvSpPr>
              <a:spLocks noGrp="1" noRot="1" noMove="1" noResize="1" noEditPoints="1" noAdjustHandles="1" noChangeArrowheads="1" noChangeShapeType="1"/>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1" name="Freeform: Shape 10">
              <a:extLst>
                <a:ext uri="{FF2B5EF4-FFF2-40B4-BE49-F238E27FC236}">
                  <a16:creationId xmlns:a16="http://schemas.microsoft.com/office/drawing/2014/main" id="{F319EF8E-ABA2-A5A4-6C12-FBA5D3397E11}"/>
                </a:ext>
              </a:extLst>
            </p:cNvPr>
            <p:cNvSpPr>
              <a:spLocks noGrp="1" noRot="1" noMove="1" noResize="1" noEditPoints="1" noAdjustHandles="1" noChangeArrowheads="1" noChangeShapeType="1"/>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2" name="Freeform: Shape 11">
              <a:extLst>
                <a:ext uri="{FF2B5EF4-FFF2-40B4-BE49-F238E27FC236}">
                  <a16:creationId xmlns:a16="http://schemas.microsoft.com/office/drawing/2014/main" id="{560FDBA2-A2F7-9D62-E5EA-3EBA04D50B05}"/>
                </a:ext>
              </a:extLst>
            </p:cNvPr>
            <p:cNvSpPr>
              <a:spLocks noGrp="1" noRot="1" noMove="1" noResize="1" noEditPoints="1" noAdjustHandles="1" noChangeArrowheads="1" noChangeShapeType="1"/>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 name="Freeform: Shape 12">
              <a:extLst>
                <a:ext uri="{FF2B5EF4-FFF2-40B4-BE49-F238E27FC236}">
                  <a16:creationId xmlns:a16="http://schemas.microsoft.com/office/drawing/2014/main" id="{CD60F4C0-A798-4C9C-D500-292789E8454C}"/>
                </a:ext>
              </a:extLst>
            </p:cNvPr>
            <p:cNvSpPr>
              <a:spLocks noGrp="1" noRot="1" noMove="1" noResize="1" noEditPoints="1" noAdjustHandles="1" noChangeArrowheads="1" noChangeShapeType="1"/>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 name="Freeform: Shape 13">
              <a:extLst>
                <a:ext uri="{FF2B5EF4-FFF2-40B4-BE49-F238E27FC236}">
                  <a16:creationId xmlns:a16="http://schemas.microsoft.com/office/drawing/2014/main" id="{1BE2448B-5F48-3BC4-A181-DC8C2B3E0562}"/>
                </a:ext>
              </a:extLst>
            </p:cNvPr>
            <p:cNvSpPr>
              <a:spLocks noGrp="1" noRot="1" noMove="1" noResize="1" noEditPoints="1" noAdjustHandles="1" noChangeArrowheads="1" noChangeShapeType="1"/>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 name="Freeform: Shape 14">
              <a:extLst>
                <a:ext uri="{FF2B5EF4-FFF2-40B4-BE49-F238E27FC236}">
                  <a16:creationId xmlns:a16="http://schemas.microsoft.com/office/drawing/2014/main" id="{0C6F739F-FD90-D6B1-FF74-D2BA4B5C0895}"/>
                </a:ext>
              </a:extLst>
            </p:cNvPr>
            <p:cNvSpPr>
              <a:spLocks noGrp="1" noRot="1" noMove="1" noResize="1" noEditPoints="1" noAdjustHandles="1" noChangeArrowheads="1" noChangeShapeType="1"/>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 name="Freeform: Shape 15">
              <a:extLst>
                <a:ext uri="{FF2B5EF4-FFF2-40B4-BE49-F238E27FC236}">
                  <a16:creationId xmlns:a16="http://schemas.microsoft.com/office/drawing/2014/main" id="{4FB9915E-C544-8357-FD6E-C8E265D2DEFF}"/>
                </a:ext>
              </a:extLst>
            </p:cNvPr>
            <p:cNvSpPr>
              <a:spLocks noGrp="1" noRot="1" noMove="1" noResize="1" noEditPoints="1" noAdjustHandles="1" noChangeArrowheads="1" noChangeShapeType="1"/>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CAFDD315-1458-9278-4CF9-455C8D76E0B4}"/>
                </a:ext>
              </a:extLst>
            </p:cNvPr>
            <p:cNvSpPr>
              <a:spLocks noGrp="1" noRot="1" noMove="1" noResize="1" noEditPoints="1" noAdjustHandles="1" noChangeArrowheads="1" noChangeShapeType="1"/>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CADAF5EA-08EC-2875-332F-35093B3E20CD}"/>
                </a:ext>
              </a:extLst>
            </p:cNvPr>
            <p:cNvSpPr>
              <a:spLocks noGrp="1" noRot="1" noMove="1" noResize="1" noEditPoints="1" noAdjustHandles="1" noChangeArrowheads="1" noChangeShapeType="1"/>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94B8E17F-F39C-BD3A-3507-7ADD9921096D}"/>
                </a:ext>
              </a:extLst>
            </p:cNvPr>
            <p:cNvSpPr>
              <a:spLocks noGrp="1" noRot="1" noMove="1" noResize="1" noEditPoints="1" noAdjustHandles="1" noChangeArrowheads="1" noChangeShapeType="1"/>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7BCDCB05-186C-9517-40AA-C640B1F3B36E}"/>
                </a:ext>
              </a:extLst>
            </p:cNvPr>
            <p:cNvSpPr>
              <a:spLocks noGrp="1" noRot="1" noMove="1" noResize="1" noEditPoints="1" noAdjustHandles="1" noChangeArrowheads="1" noChangeShapeType="1"/>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057355A1-4292-516E-FF74-90D04C993ACF}"/>
                </a:ext>
              </a:extLst>
            </p:cNvPr>
            <p:cNvSpPr>
              <a:spLocks noGrp="1" noRot="1" noMove="1" noResize="1" noEditPoints="1" noAdjustHandles="1" noChangeArrowheads="1" noChangeShapeType="1"/>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E5F07B47-7C21-B9DC-016B-826E659CD91B}"/>
                </a:ext>
              </a:extLst>
            </p:cNvPr>
            <p:cNvSpPr>
              <a:spLocks noGrp="1" noRot="1" noMove="1" noResize="1" noEditPoints="1" noAdjustHandles="1" noChangeArrowheads="1" noChangeShapeType="1"/>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6DC892BB-2CA9-3AA1-4DFC-2935051A607D}"/>
                </a:ext>
              </a:extLst>
            </p:cNvPr>
            <p:cNvSpPr>
              <a:spLocks noGrp="1" noRot="1" noMove="1" noResize="1" noEditPoints="1" noAdjustHandles="1" noChangeArrowheads="1" noChangeShapeType="1"/>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89A9CE13-E980-BDE6-AEB6-5F93602ECDCF}"/>
                </a:ext>
              </a:extLst>
            </p:cNvPr>
            <p:cNvSpPr>
              <a:spLocks noGrp="1" noRot="1" noMove="1" noResize="1" noEditPoints="1" noAdjustHandles="1" noChangeArrowheads="1" noChangeShapeType="1"/>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11E3D8F-9E94-44B7-5A0F-DA8BA84C72A3}"/>
                </a:ext>
              </a:extLst>
            </p:cNvPr>
            <p:cNvSpPr>
              <a:spLocks noGrp="1" noRot="1" noMove="1" noResize="1" noEditPoints="1" noAdjustHandles="1" noChangeArrowheads="1" noChangeShapeType="1"/>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AD05C2CB-2010-2A91-A83D-74EC00C257E5}"/>
                </a:ext>
              </a:extLst>
            </p:cNvPr>
            <p:cNvSpPr>
              <a:spLocks noGrp="1" noRot="1" noMove="1" noResize="1" noEditPoints="1" noAdjustHandles="1" noChangeArrowheads="1" noChangeShapeType="1"/>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A724FA6-FDC4-D0D4-A206-675D16E2E799}"/>
                </a:ext>
              </a:extLst>
            </p:cNvPr>
            <p:cNvSpPr>
              <a:spLocks noGrp="1" noRot="1" noMove="1" noResize="1" noEditPoints="1" noAdjustHandles="1" noChangeArrowheads="1" noChangeShapeType="1"/>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9EE66EE4-2EE1-141F-7C77-F6E2AB556557}"/>
                </a:ext>
              </a:extLst>
            </p:cNvPr>
            <p:cNvSpPr>
              <a:spLocks noGrp="1" noRot="1" noMove="1" noResize="1" noEditPoints="1" noAdjustHandles="1" noChangeArrowheads="1" noChangeShapeType="1"/>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0D6CFDC-D0C2-678C-0040-44BB4FD7FBAF}"/>
                </a:ext>
              </a:extLst>
            </p:cNvPr>
            <p:cNvSpPr>
              <a:spLocks noGrp="1" noRot="1" noMove="1" noResize="1" noEditPoints="1" noAdjustHandles="1" noChangeArrowheads="1" noChangeShapeType="1"/>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DFF8CE51-317C-C389-60B6-797DDA4492B7}"/>
                </a:ext>
              </a:extLst>
            </p:cNvPr>
            <p:cNvSpPr>
              <a:spLocks noGrp="1" noRot="1" noMove="1" noResize="1" noEditPoints="1" noAdjustHandles="1" noChangeArrowheads="1" noChangeShapeType="1"/>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56E8A70E-C056-6B13-7A7A-46A00C5A2A5B}"/>
                </a:ext>
              </a:extLst>
            </p:cNvPr>
            <p:cNvSpPr>
              <a:spLocks noGrp="1" noRot="1" noMove="1" noResize="1" noEditPoints="1" noAdjustHandles="1" noChangeArrowheads="1" noChangeShapeType="1"/>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9C8A9C4A-61B7-EBD3-1EA4-7B86B74A70D8}"/>
                </a:ext>
              </a:extLst>
            </p:cNvPr>
            <p:cNvSpPr>
              <a:spLocks noGrp="1" noRot="1" noMove="1" noResize="1" noEditPoints="1" noAdjustHandles="1" noChangeArrowheads="1" noChangeShapeType="1"/>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907895E9-527B-E3F1-BD24-FACC1E3EDB78}"/>
                </a:ext>
              </a:extLst>
            </p:cNvPr>
            <p:cNvSpPr>
              <a:spLocks noGrp="1" noRot="1" noMove="1" noResize="1" noEditPoints="1" noAdjustHandles="1" noChangeArrowheads="1" noChangeShapeType="1"/>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DF9AFF0-538F-42DD-852A-BCBFBF5D0BB9}"/>
                </a:ext>
              </a:extLst>
            </p:cNvPr>
            <p:cNvSpPr>
              <a:spLocks noGrp="1" noRot="1" noMove="1" noResize="1" noEditPoints="1" noAdjustHandles="1" noChangeArrowheads="1" noChangeShapeType="1"/>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88B84CFA-8722-BF4D-E865-04F9553BA867}"/>
                </a:ext>
              </a:extLst>
            </p:cNvPr>
            <p:cNvSpPr>
              <a:spLocks noGrp="1" noRot="1" noMove="1" noResize="1" noEditPoints="1" noAdjustHandles="1" noChangeArrowheads="1" noChangeShapeType="1"/>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27E513F5-3AAB-BA54-E3C6-08C35BEC79D7}"/>
                </a:ext>
              </a:extLst>
            </p:cNvPr>
            <p:cNvSpPr>
              <a:spLocks noGrp="1" noRot="1" noMove="1" noResize="1" noEditPoints="1" noAdjustHandles="1" noChangeArrowheads="1" noChangeShapeType="1"/>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3C9876BD-DB02-4363-9E5F-89C366317CED}"/>
                </a:ext>
              </a:extLst>
            </p:cNvPr>
            <p:cNvSpPr>
              <a:spLocks noGrp="1" noRot="1" noMove="1" noResize="1" noEditPoints="1" noAdjustHandles="1" noChangeArrowheads="1" noChangeShapeType="1"/>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B2349602-1592-95FC-E0EC-F4EB383FAF9B}"/>
                </a:ext>
              </a:extLst>
            </p:cNvPr>
            <p:cNvSpPr>
              <a:spLocks noGrp="1" noRot="1" noMove="1" noResize="1" noEditPoints="1" noAdjustHandles="1" noChangeArrowheads="1" noChangeShapeType="1"/>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47AE2A33-D595-2C6D-A081-E4727B5B65D3}"/>
                </a:ext>
              </a:extLst>
            </p:cNvPr>
            <p:cNvSpPr>
              <a:spLocks noGrp="1" noRot="1" noMove="1" noResize="1" noEditPoints="1" noAdjustHandles="1" noChangeArrowheads="1" noChangeShapeType="1"/>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8229472F-9DC6-70A0-1D25-39EFFDA82B8F}"/>
                </a:ext>
              </a:extLst>
            </p:cNvPr>
            <p:cNvSpPr>
              <a:spLocks noGrp="1" noRot="1" noMove="1" noResize="1" noEditPoints="1" noAdjustHandles="1" noChangeArrowheads="1" noChangeShapeType="1"/>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0D427E41-CF33-3758-8DAE-2FFEAF031F7C}"/>
                </a:ext>
              </a:extLst>
            </p:cNvPr>
            <p:cNvSpPr>
              <a:spLocks noGrp="1" noRot="1" noMove="1" noResize="1" noEditPoints="1" noAdjustHandles="1" noChangeArrowheads="1" noChangeShapeType="1"/>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2A360893-D263-523E-DCED-C51FD69FC0DA}"/>
                </a:ext>
              </a:extLst>
            </p:cNvPr>
            <p:cNvSpPr>
              <a:spLocks noGrp="1" noRot="1" noMove="1" noResize="1" noEditPoints="1" noAdjustHandles="1" noChangeArrowheads="1" noChangeShapeType="1"/>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C74FB631-2F11-0535-D822-7FCDFE1624DD}"/>
                </a:ext>
              </a:extLst>
            </p:cNvPr>
            <p:cNvSpPr>
              <a:spLocks noGrp="1" noRot="1" noMove="1" noResize="1" noEditPoints="1" noAdjustHandles="1" noChangeArrowheads="1" noChangeShapeType="1"/>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7E662AB4-3AFA-1566-F7A6-9BF243D5E561}"/>
                </a:ext>
              </a:extLst>
            </p:cNvPr>
            <p:cNvSpPr>
              <a:spLocks noGrp="1" noRot="1" noMove="1" noResize="1" noEditPoints="1" noAdjustHandles="1" noChangeArrowheads="1" noChangeShapeType="1"/>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21E5379A-2070-C989-CD7B-4E7BF6334163}"/>
                </a:ext>
              </a:extLst>
            </p:cNvPr>
            <p:cNvSpPr>
              <a:spLocks noGrp="1" noRot="1" noMove="1" noResize="1" noEditPoints="1" noAdjustHandles="1" noChangeArrowheads="1" noChangeShapeType="1"/>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5C70D20-7C28-E8DA-CD85-31787BB92D84}"/>
                </a:ext>
              </a:extLst>
            </p:cNvPr>
            <p:cNvSpPr>
              <a:spLocks noGrp="1" noRot="1" noMove="1" noResize="1" noEditPoints="1" noAdjustHandles="1" noChangeArrowheads="1" noChangeShapeType="1"/>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05D4E967-05D9-4A49-8E0D-F2964C83DB76}"/>
                </a:ext>
              </a:extLst>
            </p:cNvPr>
            <p:cNvSpPr>
              <a:spLocks noGrp="1" noRot="1" noMove="1" noResize="1" noEditPoints="1" noAdjustHandles="1" noChangeArrowheads="1" noChangeShapeType="1"/>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D55A9D37-0F32-71AB-78F8-164055760C5C}"/>
                </a:ext>
              </a:extLst>
            </p:cNvPr>
            <p:cNvSpPr>
              <a:spLocks noGrp="1" noRot="1" noMove="1" noResize="1" noEditPoints="1" noAdjustHandles="1" noChangeArrowheads="1" noChangeShapeType="1"/>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3EC56F55-90C5-C1A8-7EBE-31EA437EA4D3}"/>
                </a:ext>
              </a:extLst>
            </p:cNvPr>
            <p:cNvSpPr>
              <a:spLocks noGrp="1" noRot="1" noMove="1" noResize="1" noEditPoints="1" noAdjustHandles="1" noChangeArrowheads="1" noChangeShapeType="1"/>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737DCCCA-9164-661A-6B24-467CB516933F}"/>
                </a:ext>
              </a:extLst>
            </p:cNvPr>
            <p:cNvSpPr>
              <a:spLocks noGrp="1" noRot="1" noMove="1" noResize="1" noEditPoints="1" noAdjustHandles="1" noChangeArrowheads="1" noChangeShapeType="1"/>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1AA3E843-BA32-11A4-2772-D0CFC6753D4D}"/>
                </a:ext>
              </a:extLst>
            </p:cNvPr>
            <p:cNvSpPr>
              <a:spLocks noGrp="1" noRot="1" noMove="1" noResize="1" noEditPoints="1" noAdjustHandles="1" noChangeArrowheads="1" noChangeShapeType="1"/>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BAFA06B-3A71-E051-CB73-90A5F1DA7CFB}"/>
                </a:ext>
              </a:extLst>
            </p:cNvPr>
            <p:cNvSpPr>
              <a:spLocks noGrp="1" noRot="1" noMove="1" noResize="1" noEditPoints="1" noAdjustHandles="1" noChangeArrowheads="1" noChangeShapeType="1"/>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F7DD9422-77C0-7FD8-66F7-8789DCEDBF87}"/>
                </a:ext>
              </a:extLst>
            </p:cNvPr>
            <p:cNvSpPr>
              <a:spLocks noGrp="1" noRot="1" noMove="1" noResize="1" noEditPoints="1" noAdjustHandles="1" noChangeArrowheads="1" noChangeShapeType="1"/>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CDAE5A93-EA9C-E247-6499-C9794DB13489}"/>
                </a:ext>
              </a:extLst>
            </p:cNvPr>
            <p:cNvSpPr>
              <a:spLocks noGrp="1" noRot="1" noMove="1" noResize="1" noEditPoints="1" noAdjustHandles="1" noChangeArrowheads="1" noChangeShapeType="1"/>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2A9B8EEC-A013-1285-944F-A37DEB5825C0}"/>
                </a:ext>
              </a:extLst>
            </p:cNvPr>
            <p:cNvSpPr>
              <a:spLocks noGrp="1" noRot="1" noMove="1" noResize="1" noEditPoints="1" noAdjustHandles="1" noChangeArrowheads="1" noChangeShapeType="1"/>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EB750D8C-725F-9E26-147F-959765E9CAF9}"/>
                </a:ext>
              </a:extLst>
            </p:cNvPr>
            <p:cNvSpPr>
              <a:spLocks noGrp="1" noRot="1" noMove="1" noResize="1" noEditPoints="1" noAdjustHandles="1" noChangeArrowheads="1" noChangeShapeType="1"/>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6884A303-9D71-C709-05C8-1515F7330E9B}"/>
                </a:ext>
              </a:extLst>
            </p:cNvPr>
            <p:cNvSpPr>
              <a:spLocks noGrp="1" noRot="1" noMove="1" noResize="1" noEditPoints="1" noAdjustHandles="1" noChangeArrowheads="1" noChangeShapeType="1"/>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FD03D4C9-1812-DD4A-71D4-5A10BBC53402}"/>
                </a:ext>
              </a:extLst>
            </p:cNvPr>
            <p:cNvSpPr>
              <a:spLocks noGrp="1" noRot="1" noMove="1" noResize="1" noEditPoints="1" noAdjustHandles="1" noChangeArrowheads="1" noChangeShapeType="1"/>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F073DA85-D3DB-9840-4576-3F90AC3A2A5A}"/>
                </a:ext>
              </a:extLst>
            </p:cNvPr>
            <p:cNvSpPr>
              <a:spLocks noGrp="1" noRot="1" noMove="1" noResize="1" noEditPoints="1" noAdjustHandles="1" noChangeArrowheads="1" noChangeShapeType="1"/>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F8FBAF4A-035C-8BB2-6424-A55F6AF9D0D0}"/>
                </a:ext>
              </a:extLst>
            </p:cNvPr>
            <p:cNvSpPr>
              <a:spLocks noGrp="1" noRot="1" noMove="1" noResize="1" noEditPoints="1" noAdjustHandles="1" noChangeArrowheads="1" noChangeShapeType="1"/>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6FC41C8E-F238-8658-2D46-C4ECEF47986F}"/>
                </a:ext>
              </a:extLst>
            </p:cNvPr>
            <p:cNvSpPr>
              <a:spLocks noGrp="1" noRot="1" noMove="1" noResize="1" noEditPoints="1" noAdjustHandles="1" noChangeArrowheads="1" noChangeShapeType="1"/>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D7AF2D12-E059-A43A-6A46-6C8E27A7DDA7}"/>
                </a:ext>
              </a:extLst>
            </p:cNvPr>
            <p:cNvSpPr>
              <a:spLocks noGrp="1" noRot="1" noMove="1" noResize="1" noEditPoints="1" noAdjustHandles="1" noChangeArrowheads="1" noChangeShapeType="1"/>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CC960CE5-06C4-73AD-AFDA-D5319E64D665}"/>
                </a:ext>
              </a:extLst>
            </p:cNvPr>
            <p:cNvSpPr>
              <a:spLocks noGrp="1" noRot="1" noMove="1" noResize="1" noEditPoints="1" noAdjustHandles="1" noChangeArrowheads="1" noChangeShapeType="1"/>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C1D660B8-1B0D-62DC-37A2-C980F9C86631}"/>
                </a:ext>
              </a:extLst>
            </p:cNvPr>
            <p:cNvSpPr>
              <a:spLocks noGrp="1" noRot="1" noMove="1" noResize="1" noEditPoints="1" noAdjustHandles="1" noChangeArrowheads="1" noChangeShapeType="1"/>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23EBC772-F8DF-3507-BAAB-F751D9DD39AC}"/>
                </a:ext>
              </a:extLst>
            </p:cNvPr>
            <p:cNvSpPr>
              <a:spLocks noGrp="1" noRot="1" noMove="1" noResize="1" noEditPoints="1" noAdjustHandles="1" noChangeArrowheads="1" noChangeShapeType="1"/>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A07A5405-5004-BC9D-8DA9-55CECEEA4CAB}"/>
                </a:ext>
              </a:extLst>
            </p:cNvPr>
            <p:cNvSpPr>
              <a:spLocks noGrp="1" noRot="1" noMove="1" noResize="1" noEditPoints="1" noAdjustHandles="1" noChangeArrowheads="1" noChangeShapeType="1"/>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66E65A34-F69F-0B89-C058-B1D331BD6DD5}"/>
                </a:ext>
              </a:extLst>
            </p:cNvPr>
            <p:cNvSpPr>
              <a:spLocks noGrp="1" noRot="1" noMove="1" noResize="1" noEditPoints="1" noAdjustHandles="1" noChangeArrowheads="1" noChangeShapeType="1"/>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F38CAADC-2E90-3A9D-2D19-C4B5B7590CAC}"/>
                </a:ext>
              </a:extLst>
            </p:cNvPr>
            <p:cNvSpPr>
              <a:spLocks noGrp="1" noRot="1" noMove="1" noResize="1" noEditPoints="1" noAdjustHandles="1" noChangeArrowheads="1" noChangeShapeType="1"/>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2E3F28A2-935B-92F5-1F97-C86243B1A5DE}"/>
                </a:ext>
              </a:extLst>
            </p:cNvPr>
            <p:cNvSpPr>
              <a:spLocks noGrp="1" noRot="1" noMove="1" noResize="1" noEditPoints="1" noAdjustHandles="1" noChangeArrowheads="1" noChangeShapeType="1"/>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042120-95CC-2B21-5BA0-096640F68A2F}"/>
                </a:ext>
              </a:extLst>
            </p:cNvPr>
            <p:cNvSpPr>
              <a:spLocks noGrp="1" noRot="1" noMove="1" noResize="1" noEditPoints="1" noAdjustHandles="1" noChangeArrowheads="1" noChangeShapeType="1"/>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2E376B2-9254-483B-B3BC-0C0D082AC5AB}"/>
                </a:ext>
              </a:extLst>
            </p:cNvPr>
            <p:cNvSpPr>
              <a:spLocks noGrp="1" noRot="1" noMove="1" noResize="1" noEditPoints="1" noAdjustHandles="1" noChangeArrowheads="1" noChangeShapeType="1"/>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504152E0-6880-FDA5-0E2F-8A41FFB1C7D8}"/>
                </a:ext>
              </a:extLst>
            </p:cNvPr>
            <p:cNvSpPr>
              <a:spLocks noGrp="1" noRot="1" noMove="1" noResize="1" noEditPoints="1" noAdjustHandles="1" noChangeArrowheads="1" noChangeShapeType="1"/>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5C03B13D-7781-EB68-04E0-F0E8B39E82CF}"/>
                </a:ext>
              </a:extLst>
            </p:cNvPr>
            <p:cNvSpPr>
              <a:spLocks noGrp="1" noRot="1" noMove="1" noResize="1" noEditPoints="1" noAdjustHandles="1" noChangeArrowheads="1" noChangeShapeType="1"/>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8B2388EE-98AD-2466-B263-E0B3414E559C}"/>
                </a:ext>
              </a:extLst>
            </p:cNvPr>
            <p:cNvSpPr>
              <a:spLocks noGrp="1" noRot="1" noMove="1" noResize="1" noEditPoints="1" noAdjustHandles="1" noChangeArrowheads="1" noChangeShapeType="1"/>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3BE9A40F-B6F6-1AB7-345A-9F760B2BF004}"/>
                </a:ext>
              </a:extLst>
            </p:cNvPr>
            <p:cNvSpPr>
              <a:spLocks noGrp="1" noRot="1" noMove="1" noResize="1" noEditPoints="1" noAdjustHandles="1" noChangeArrowheads="1" noChangeShapeType="1"/>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AC2780B7-6117-E621-163C-EAB24012DA36}"/>
                </a:ext>
              </a:extLst>
            </p:cNvPr>
            <p:cNvSpPr>
              <a:spLocks noGrp="1" noRot="1" noMove="1" noResize="1" noEditPoints="1" noAdjustHandles="1" noChangeArrowheads="1" noChangeShapeType="1"/>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2A0A6990-15D1-C49A-B861-3896812B929F}"/>
                </a:ext>
              </a:extLst>
            </p:cNvPr>
            <p:cNvSpPr>
              <a:spLocks noGrp="1" noRot="1" noMove="1" noResize="1" noEditPoints="1" noAdjustHandles="1" noChangeArrowheads="1" noChangeShapeType="1"/>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4D5641B0-72E6-5116-69F4-2908216634AD}"/>
                </a:ext>
              </a:extLst>
            </p:cNvPr>
            <p:cNvSpPr>
              <a:spLocks noGrp="1" noRot="1" noMove="1" noResize="1" noEditPoints="1" noAdjustHandles="1" noChangeArrowheads="1" noChangeShapeType="1"/>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0B8429CA-3F74-29CB-47A2-C3ED3BEB245D}"/>
                </a:ext>
              </a:extLst>
            </p:cNvPr>
            <p:cNvSpPr>
              <a:spLocks noGrp="1" noRot="1" noMove="1" noResize="1" noEditPoints="1" noAdjustHandles="1" noChangeArrowheads="1" noChangeShapeType="1"/>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E26B9BFF-E2F8-7282-237F-BBF28E8B0260}"/>
                </a:ext>
              </a:extLst>
            </p:cNvPr>
            <p:cNvSpPr>
              <a:spLocks noGrp="1" noRot="1" noMove="1" noResize="1" noEditPoints="1" noAdjustHandles="1" noChangeArrowheads="1" noChangeShapeType="1"/>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168017DD-D5BD-306B-2403-6F412AF547E5}"/>
                </a:ext>
              </a:extLst>
            </p:cNvPr>
            <p:cNvSpPr>
              <a:spLocks noGrp="1" noRot="1" noMove="1" noResize="1" noEditPoints="1" noAdjustHandles="1" noChangeArrowheads="1" noChangeShapeType="1"/>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7EDA2694-2C8F-174A-3131-E341C38DC13D}"/>
                </a:ext>
              </a:extLst>
            </p:cNvPr>
            <p:cNvSpPr>
              <a:spLocks noGrp="1" noRot="1" noMove="1" noResize="1" noEditPoints="1" noAdjustHandles="1" noChangeArrowheads="1" noChangeShapeType="1"/>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202663BD-B3C2-980C-4CD2-CB3504B6785F}"/>
                </a:ext>
              </a:extLst>
            </p:cNvPr>
            <p:cNvSpPr>
              <a:spLocks noGrp="1" noRot="1" noMove="1" noResize="1" noEditPoints="1" noAdjustHandles="1" noChangeArrowheads="1" noChangeShapeType="1"/>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1018E2A4-AF65-9E63-D22C-8AB4E2B0F75E}"/>
                </a:ext>
              </a:extLst>
            </p:cNvPr>
            <p:cNvSpPr>
              <a:spLocks noGrp="1" noRot="1" noMove="1" noResize="1" noEditPoints="1" noAdjustHandles="1" noChangeArrowheads="1" noChangeShapeType="1"/>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A5BFF598-9FBE-C840-0D6C-B4A0762A4B3E}"/>
                </a:ext>
              </a:extLst>
            </p:cNvPr>
            <p:cNvSpPr>
              <a:spLocks noGrp="1" noRot="1" noMove="1" noResize="1" noEditPoints="1" noAdjustHandles="1" noChangeArrowheads="1" noChangeShapeType="1"/>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6BD151C2-BF23-0123-9FD2-231167EF6E3A}"/>
                </a:ext>
              </a:extLst>
            </p:cNvPr>
            <p:cNvSpPr>
              <a:spLocks noGrp="1" noRot="1" noMove="1" noResize="1" noEditPoints="1" noAdjustHandles="1" noChangeArrowheads="1" noChangeShapeType="1"/>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0FB8649B-DF77-850F-D1A5-10674DA8229B}"/>
                </a:ext>
              </a:extLst>
            </p:cNvPr>
            <p:cNvSpPr>
              <a:spLocks noGrp="1" noRot="1" noMove="1" noResize="1" noEditPoints="1" noAdjustHandles="1" noChangeArrowheads="1" noChangeShapeType="1"/>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5368C4B5-4DF5-D380-E850-54CA2A90D7E5}"/>
                </a:ext>
              </a:extLst>
            </p:cNvPr>
            <p:cNvSpPr>
              <a:spLocks noGrp="1" noRot="1" noMove="1" noResize="1" noEditPoints="1" noAdjustHandles="1" noChangeArrowheads="1" noChangeShapeType="1"/>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9BC6A4F-854C-68EF-C820-C4DD066360C2}"/>
                </a:ext>
              </a:extLst>
            </p:cNvPr>
            <p:cNvSpPr>
              <a:spLocks noGrp="1" noRot="1" noMove="1" noResize="1" noEditPoints="1" noAdjustHandles="1" noChangeArrowheads="1" noChangeShapeType="1"/>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6BF080D4-3C7E-5EBD-B85D-B624736D3A0B}"/>
                </a:ext>
              </a:extLst>
            </p:cNvPr>
            <p:cNvSpPr>
              <a:spLocks noGrp="1" noRot="1" noMove="1" noResize="1" noEditPoints="1" noAdjustHandles="1" noChangeArrowheads="1" noChangeShapeType="1"/>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18BEB113-E186-9AF5-382B-E6BD4508BD96}"/>
                </a:ext>
              </a:extLst>
            </p:cNvPr>
            <p:cNvSpPr>
              <a:spLocks noGrp="1" noRot="1" noMove="1" noResize="1" noEditPoints="1" noAdjustHandles="1" noChangeArrowheads="1" noChangeShapeType="1"/>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F99EB533-AA2E-1A23-1258-0C6B3EF521D9}"/>
                </a:ext>
              </a:extLst>
            </p:cNvPr>
            <p:cNvSpPr>
              <a:spLocks noGrp="1" noRot="1" noMove="1" noResize="1" noEditPoints="1" noAdjustHandles="1" noChangeArrowheads="1" noChangeShapeType="1"/>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A242AE7B-18FE-C59C-433C-D189561C7BEC}"/>
                </a:ext>
              </a:extLst>
            </p:cNvPr>
            <p:cNvSpPr>
              <a:spLocks noGrp="1" noRot="1" noMove="1" noResize="1" noEditPoints="1" noAdjustHandles="1" noChangeArrowheads="1" noChangeShapeType="1"/>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6BB4D8A3-26EF-105C-F62B-DA1EF08F70A2}"/>
                </a:ext>
              </a:extLst>
            </p:cNvPr>
            <p:cNvSpPr>
              <a:spLocks noGrp="1" noRot="1" noMove="1" noResize="1" noEditPoints="1" noAdjustHandles="1" noChangeArrowheads="1" noChangeShapeType="1"/>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48FD908D-41CD-F460-14A8-A3E86ABC8981}"/>
                </a:ext>
              </a:extLst>
            </p:cNvPr>
            <p:cNvSpPr>
              <a:spLocks noGrp="1" noRot="1" noMove="1" noResize="1" noEditPoints="1" noAdjustHandles="1" noChangeArrowheads="1" noChangeShapeType="1"/>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E5CD5982-B1BB-F05D-1129-D3375B9028A5}"/>
                </a:ext>
              </a:extLst>
            </p:cNvPr>
            <p:cNvSpPr>
              <a:spLocks noGrp="1" noRot="1" noMove="1" noResize="1" noEditPoints="1" noAdjustHandles="1" noChangeArrowheads="1" noChangeShapeType="1"/>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D2118FC6-12D5-7CF3-786A-2EAF9F34A522}"/>
                </a:ext>
              </a:extLst>
            </p:cNvPr>
            <p:cNvSpPr>
              <a:spLocks noGrp="1" noRot="1" noMove="1" noResize="1" noEditPoints="1" noAdjustHandles="1" noChangeArrowheads="1" noChangeShapeType="1"/>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0836221A-8D31-09C6-8668-F3CB2BDCACBD}"/>
                </a:ext>
              </a:extLst>
            </p:cNvPr>
            <p:cNvSpPr>
              <a:spLocks noGrp="1" noRot="1" noMove="1" noResize="1" noEditPoints="1" noAdjustHandles="1" noChangeArrowheads="1" noChangeShapeType="1"/>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6D32AD7A-075C-037D-17A8-E959EAB2194B}"/>
                </a:ext>
              </a:extLst>
            </p:cNvPr>
            <p:cNvSpPr>
              <a:spLocks noGrp="1" noRot="1" noMove="1" noResize="1" noEditPoints="1" noAdjustHandles="1" noChangeArrowheads="1" noChangeShapeType="1"/>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1F7E5AC0-4047-1C0E-B573-62F3FC2E4854}"/>
                </a:ext>
              </a:extLst>
            </p:cNvPr>
            <p:cNvSpPr>
              <a:spLocks noGrp="1" noRot="1" noMove="1" noResize="1" noEditPoints="1" noAdjustHandles="1" noChangeArrowheads="1" noChangeShapeType="1"/>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7B9CD6BB-CC27-392C-5D87-654F30E45E47}"/>
                </a:ext>
              </a:extLst>
            </p:cNvPr>
            <p:cNvSpPr>
              <a:spLocks noGrp="1" noRot="1" noMove="1" noResize="1" noEditPoints="1" noAdjustHandles="1" noChangeArrowheads="1" noChangeShapeType="1"/>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FC980C21-C85F-ABC6-F468-147554F8455E}"/>
                </a:ext>
              </a:extLst>
            </p:cNvPr>
            <p:cNvSpPr>
              <a:spLocks noGrp="1" noRot="1" noMove="1" noResize="1" noEditPoints="1" noAdjustHandles="1" noChangeArrowheads="1" noChangeShapeType="1"/>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4CB71F60-EDAB-BBBA-1471-82A51DEF2720}"/>
                </a:ext>
              </a:extLst>
            </p:cNvPr>
            <p:cNvSpPr>
              <a:spLocks noGrp="1" noRot="1" noMove="1" noResize="1" noEditPoints="1" noAdjustHandles="1" noChangeArrowheads="1" noChangeShapeType="1"/>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5B1C27CC-C313-BFA5-61A7-7B63C21455E1}"/>
                </a:ext>
              </a:extLst>
            </p:cNvPr>
            <p:cNvSpPr>
              <a:spLocks noGrp="1" noRot="1" noMove="1" noResize="1" noEditPoints="1" noAdjustHandles="1" noChangeArrowheads="1" noChangeShapeType="1"/>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68DF15BD-BEDC-E630-D84F-5ED86FE33A79}"/>
                </a:ext>
              </a:extLst>
            </p:cNvPr>
            <p:cNvSpPr>
              <a:spLocks noGrp="1" noRot="1" noMove="1" noResize="1" noEditPoints="1" noAdjustHandles="1" noChangeArrowheads="1" noChangeShapeType="1"/>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85D811F1-9950-3201-4DF1-D2FB09A7F048}"/>
                </a:ext>
              </a:extLst>
            </p:cNvPr>
            <p:cNvSpPr>
              <a:spLocks noGrp="1" noRot="1" noMove="1" noResize="1" noEditPoints="1" noAdjustHandles="1" noChangeArrowheads="1" noChangeShapeType="1"/>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0C502483-C545-3A30-5BCA-FF5B39075D6E}"/>
                </a:ext>
              </a:extLst>
            </p:cNvPr>
            <p:cNvSpPr>
              <a:spLocks noGrp="1" noRot="1" noMove="1" noResize="1" noEditPoints="1" noAdjustHandles="1" noChangeArrowheads="1" noChangeShapeType="1"/>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980131D4-6656-83E7-1C0E-A5914E3CB9AF}"/>
                </a:ext>
              </a:extLst>
            </p:cNvPr>
            <p:cNvSpPr>
              <a:spLocks noGrp="1" noRot="1" noMove="1" noResize="1" noEditPoints="1" noAdjustHandles="1" noChangeArrowheads="1" noChangeShapeType="1"/>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A1FCDAB4-2C42-3AE5-7B6A-7EE156020846}"/>
                </a:ext>
              </a:extLst>
            </p:cNvPr>
            <p:cNvSpPr>
              <a:spLocks noGrp="1" noRot="1" noMove="1" noResize="1" noEditPoints="1" noAdjustHandles="1" noChangeArrowheads="1" noChangeShapeType="1"/>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249D8C61-050E-15D1-444E-C4CB48473433}"/>
                </a:ext>
              </a:extLst>
            </p:cNvPr>
            <p:cNvSpPr>
              <a:spLocks noGrp="1" noRot="1" noMove="1" noResize="1" noEditPoints="1" noAdjustHandles="1" noChangeArrowheads="1" noChangeShapeType="1"/>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625B9BD8-C482-18C2-BFB3-0FDFD6C82610}"/>
                </a:ext>
              </a:extLst>
            </p:cNvPr>
            <p:cNvSpPr>
              <a:spLocks noGrp="1" noRot="1" noMove="1" noResize="1" noEditPoints="1" noAdjustHandles="1" noChangeArrowheads="1" noChangeShapeType="1"/>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DC90D9C6-7C46-7FFE-E503-1569710FDCB9}"/>
                </a:ext>
              </a:extLst>
            </p:cNvPr>
            <p:cNvSpPr>
              <a:spLocks noGrp="1" noRot="1" noMove="1" noResize="1" noEditPoints="1" noAdjustHandles="1" noChangeArrowheads="1" noChangeShapeType="1"/>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931B1506-2A2E-F66E-744A-83CC028D3CF3}"/>
                </a:ext>
              </a:extLst>
            </p:cNvPr>
            <p:cNvSpPr>
              <a:spLocks noGrp="1" noRot="1" noMove="1" noResize="1" noEditPoints="1" noAdjustHandles="1" noChangeArrowheads="1" noChangeShapeType="1"/>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8F803A79-7FC3-660C-F577-9C20D06DB623}"/>
                </a:ext>
              </a:extLst>
            </p:cNvPr>
            <p:cNvSpPr>
              <a:spLocks noGrp="1" noRot="1" noMove="1" noResize="1" noEditPoints="1" noAdjustHandles="1" noChangeArrowheads="1" noChangeShapeType="1"/>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18BBFC5D-CF17-6D23-CDE8-B886291F763C}"/>
                </a:ext>
              </a:extLst>
            </p:cNvPr>
            <p:cNvSpPr>
              <a:spLocks noGrp="1" noRot="1" noMove="1" noResize="1" noEditPoints="1" noAdjustHandles="1" noChangeArrowheads="1" noChangeShapeType="1"/>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AFEF1D44-D11F-2F71-2098-4961CC527563}"/>
                </a:ext>
              </a:extLst>
            </p:cNvPr>
            <p:cNvSpPr>
              <a:spLocks noGrp="1" noRot="1" noMove="1" noResize="1" noEditPoints="1" noAdjustHandles="1" noChangeArrowheads="1" noChangeShapeType="1"/>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363585C0-8405-F3F5-CEED-9AE931E3E474}"/>
                </a:ext>
              </a:extLst>
            </p:cNvPr>
            <p:cNvSpPr>
              <a:spLocks noGrp="1" noRot="1" noMove="1" noResize="1" noEditPoints="1" noAdjustHandles="1" noChangeArrowheads="1" noChangeShapeType="1"/>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9385949-0397-C3EF-95C8-7143504B80CC}"/>
                </a:ext>
              </a:extLst>
            </p:cNvPr>
            <p:cNvSpPr>
              <a:spLocks noGrp="1" noRot="1" noMove="1" noResize="1" noEditPoints="1" noAdjustHandles="1" noChangeArrowheads="1" noChangeShapeType="1"/>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7D31A654-FFBC-D274-C373-6F76FAD546AF}"/>
                </a:ext>
              </a:extLst>
            </p:cNvPr>
            <p:cNvSpPr>
              <a:spLocks noGrp="1" noRot="1" noMove="1" noResize="1" noEditPoints="1" noAdjustHandles="1" noChangeArrowheads="1" noChangeShapeType="1"/>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04CA9C1A-9FBC-925F-B776-C49CF561E1B2}"/>
                </a:ext>
              </a:extLst>
            </p:cNvPr>
            <p:cNvSpPr>
              <a:spLocks noGrp="1" noRot="1" noMove="1" noResize="1" noEditPoints="1" noAdjustHandles="1" noChangeArrowheads="1" noChangeShapeType="1"/>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2E81F1AF-442F-264E-550A-A415A0861694}"/>
                </a:ext>
              </a:extLst>
            </p:cNvPr>
            <p:cNvSpPr>
              <a:spLocks noGrp="1" noRot="1" noMove="1" noResize="1" noEditPoints="1" noAdjustHandles="1" noChangeArrowheads="1" noChangeShapeType="1"/>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954A9B9B-7FE4-3A8F-8FE1-8B1A6C8FC617}"/>
                </a:ext>
              </a:extLst>
            </p:cNvPr>
            <p:cNvSpPr>
              <a:spLocks noGrp="1" noRot="1" noMove="1" noResize="1" noEditPoints="1" noAdjustHandles="1" noChangeArrowheads="1" noChangeShapeType="1"/>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BE0EFA17-FB61-5F78-E138-31BF0AF2A6DC}"/>
                </a:ext>
              </a:extLst>
            </p:cNvPr>
            <p:cNvSpPr>
              <a:spLocks noGrp="1" noRot="1" noMove="1" noResize="1" noEditPoints="1" noAdjustHandles="1" noChangeArrowheads="1" noChangeShapeType="1"/>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F5ABA7AB-71A3-F6A6-2A95-FB5450474190}"/>
                </a:ext>
              </a:extLst>
            </p:cNvPr>
            <p:cNvSpPr>
              <a:spLocks noGrp="1" noRot="1" noMove="1" noResize="1" noEditPoints="1" noAdjustHandles="1" noChangeArrowheads="1" noChangeShapeType="1"/>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0B99F127-F375-FA5B-A98F-D0835C6CCCCA}"/>
                </a:ext>
              </a:extLst>
            </p:cNvPr>
            <p:cNvSpPr>
              <a:spLocks noGrp="1" noRot="1" noMove="1" noResize="1" noEditPoints="1" noAdjustHandles="1" noChangeArrowheads="1" noChangeShapeType="1"/>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00B90DE2-C1ED-8F65-ED8A-03385E9DB4B2}"/>
                </a:ext>
              </a:extLst>
            </p:cNvPr>
            <p:cNvSpPr>
              <a:spLocks noGrp="1" noRot="1" noMove="1" noResize="1" noEditPoints="1" noAdjustHandles="1" noChangeArrowheads="1" noChangeShapeType="1"/>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CCB1CC9E-A4F3-C3F8-B69F-64C2D6307547}"/>
                </a:ext>
              </a:extLst>
            </p:cNvPr>
            <p:cNvSpPr>
              <a:spLocks noGrp="1" noRot="1" noMove="1" noResize="1" noEditPoints="1" noAdjustHandles="1" noChangeArrowheads="1" noChangeShapeType="1"/>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D46F0F28-9014-F685-519F-628FFB987305}"/>
                </a:ext>
              </a:extLst>
            </p:cNvPr>
            <p:cNvSpPr>
              <a:spLocks noGrp="1" noRot="1" noMove="1" noResize="1" noEditPoints="1" noAdjustHandles="1" noChangeArrowheads="1" noChangeShapeType="1"/>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D085F86A-1E53-74D6-07F1-72C349383243}"/>
                </a:ext>
              </a:extLst>
            </p:cNvPr>
            <p:cNvSpPr>
              <a:spLocks noGrp="1" noRot="1" noMove="1" noResize="1" noEditPoints="1" noAdjustHandles="1" noChangeArrowheads="1" noChangeShapeType="1"/>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6E7AD6BC-5A56-5BE9-AF3D-24A2D8EAF95A}"/>
                </a:ext>
              </a:extLst>
            </p:cNvPr>
            <p:cNvSpPr>
              <a:spLocks noGrp="1" noRot="1" noMove="1" noResize="1" noEditPoints="1" noAdjustHandles="1" noChangeArrowheads="1" noChangeShapeType="1"/>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7C8C19E-D0AD-807D-EA7C-F9E043AA8D49}"/>
                </a:ext>
              </a:extLst>
            </p:cNvPr>
            <p:cNvSpPr>
              <a:spLocks noGrp="1" noRot="1" noMove="1" noResize="1" noEditPoints="1" noAdjustHandles="1" noChangeArrowheads="1" noChangeShapeType="1"/>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80B9D831-8E57-CBFE-3A3B-99711B5F874F}"/>
                </a:ext>
              </a:extLst>
            </p:cNvPr>
            <p:cNvSpPr>
              <a:spLocks noGrp="1" noRot="1" noMove="1" noResize="1" noEditPoints="1" noAdjustHandles="1" noChangeArrowheads="1" noChangeShapeType="1"/>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62206051-B586-5D90-4539-41F3E91CA0C9}"/>
                </a:ext>
              </a:extLst>
            </p:cNvPr>
            <p:cNvSpPr>
              <a:spLocks noGrp="1" noRot="1" noMove="1" noResize="1" noEditPoints="1" noAdjustHandles="1" noChangeArrowheads="1" noChangeShapeType="1"/>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5D605221-EDDF-66C1-CDED-F94403F0FC16}"/>
                </a:ext>
              </a:extLst>
            </p:cNvPr>
            <p:cNvSpPr>
              <a:spLocks noGrp="1" noRot="1" noMove="1" noResize="1" noEditPoints="1" noAdjustHandles="1" noChangeArrowheads="1" noChangeShapeType="1"/>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6D73E46C-7AD1-48FD-885C-5BE56905B176}"/>
                </a:ext>
              </a:extLst>
            </p:cNvPr>
            <p:cNvSpPr>
              <a:spLocks noGrp="1" noRot="1" noMove="1" noResize="1" noEditPoints="1" noAdjustHandles="1" noChangeArrowheads="1" noChangeShapeType="1"/>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EE2BC7A4-CF39-8CA8-3A0B-F236F23E709C}"/>
                </a:ext>
              </a:extLst>
            </p:cNvPr>
            <p:cNvSpPr>
              <a:spLocks noGrp="1" noRot="1" noMove="1" noResize="1" noEditPoints="1" noAdjustHandles="1" noChangeArrowheads="1" noChangeShapeType="1"/>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F702535F-18AA-61CE-82F8-4777788FAA00}"/>
                </a:ext>
              </a:extLst>
            </p:cNvPr>
            <p:cNvSpPr>
              <a:spLocks noGrp="1" noRot="1" noMove="1" noResize="1" noEditPoints="1" noAdjustHandles="1" noChangeArrowheads="1" noChangeShapeType="1"/>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CD760794-BDA8-D0AD-9552-CD3EB7B7E8E2}"/>
                </a:ext>
              </a:extLst>
            </p:cNvPr>
            <p:cNvSpPr>
              <a:spLocks noGrp="1" noRot="1" noMove="1" noResize="1" noEditPoints="1" noAdjustHandles="1" noChangeArrowheads="1" noChangeShapeType="1"/>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DFD3AE53-6D8C-69CC-C81C-89CA47F73CA6}"/>
                </a:ext>
              </a:extLst>
            </p:cNvPr>
            <p:cNvSpPr>
              <a:spLocks noGrp="1" noRot="1" noMove="1" noResize="1" noEditPoints="1" noAdjustHandles="1" noChangeArrowheads="1" noChangeShapeType="1"/>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915FB3E6-796C-1FC2-2BAC-0FE463C6391E}"/>
                </a:ext>
              </a:extLst>
            </p:cNvPr>
            <p:cNvSpPr>
              <a:spLocks noGrp="1" noRot="1" noMove="1" noResize="1" noEditPoints="1" noAdjustHandles="1" noChangeArrowheads="1" noChangeShapeType="1"/>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AD322BF1-85D6-2C7B-4C72-914AE02CC8FE}"/>
                </a:ext>
              </a:extLst>
            </p:cNvPr>
            <p:cNvSpPr>
              <a:spLocks noGrp="1" noRot="1" noMove="1" noResize="1" noEditPoints="1" noAdjustHandles="1" noChangeArrowheads="1" noChangeShapeType="1"/>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B6C67E24-49B2-A27C-1418-C9830427883E}"/>
                </a:ext>
              </a:extLst>
            </p:cNvPr>
            <p:cNvSpPr>
              <a:spLocks noGrp="1" noRot="1" noMove="1" noResize="1" noEditPoints="1" noAdjustHandles="1" noChangeArrowheads="1" noChangeShapeType="1"/>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F91DEE1B-E75A-E7AC-BE7D-C21B91930ADA}"/>
                </a:ext>
              </a:extLst>
            </p:cNvPr>
            <p:cNvSpPr>
              <a:spLocks noGrp="1" noRot="1" noMove="1" noResize="1" noEditPoints="1" noAdjustHandles="1" noChangeArrowheads="1" noChangeShapeType="1"/>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DAF4A113-80ED-8B25-47A5-5D36E686587E}"/>
                </a:ext>
              </a:extLst>
            </p:cNvPr>
            <p:cNvSpPr>
              <a:spLocks noGrp="1" noRot="1" noMove="1" noResize="1" noEditPoints="1" noAdjustHandles="1" noChangeArrowheads="1" noChangeShapeType="1"/>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B080D88E-BB90-AECB-5EDE-94E5707148DB}"/>
                </a:ext>
              </a:extLst>
            </p:cNvPr>
            <p:cNvSpPr>
              <a:spLocks noGrp="1" noRot="1" noMove="1" noResize="1" noEditPoints="1" noAdjustHandles="1" noChangeArrowheads="1" noChangeShapeType="1"/>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51B718CD-0BF8-F91A-51C6-35AE12A23E6D}"/>
                </a:ext>
              </a:extLst>
            </p:cNvPr>
            <p:cNvSpPr>
              <a:spLocks noGrp="1" noRot="1" noMove="1" noResize="1" noEditPoints="1" noAdjustHandles="1" noChangeArrowheads="1" noChangeShapeType="1"/>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E7685C16-D1FF-2BF1-5FC5-D9A51B3D8CA6}"/>
                </a:ext>
              </a:extLst>
            </p:cNvPr>
            <p:cNvSpPr>
              <a:spLocks noGrp="1" noRot="1" noMove="1" noResize="1" noEditPoints="1" noAdjustHandles="1" noChangeArrowheads="1" noChangeShapeType="1"/>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DAB23E6C-2460-E587-92E5-1A53E82A7B1A}"/>
                </a:ext>
              </a:extLst>
            </p:cNvPr>
            <p:cNvSpPr>
              <a:spLocks noGrp="1" noRot="1" noMove="1" noResize="1" noEditPoints="1" noAdjustHandles="1" noChangeArrowheads="1" noChangeShapeType="1"/>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grpSp>
      <p:grpSp>
        <p:nvGrpSpPr>
          <p:cNvPr id="166" name="Pixels">
            <a:extLst>
              <a:ext uri="{FF2B5EF4-FFF2-40B4-BE49-F238E27FC236}">
                <a16:creationId xmlns:a16="http://schemas.microsoft.com/office/drawing/2014/main" id="{63B00F81-2426-68DF-B87C-E83D6BFD7388}"/>
              </a:ext>
            </a:extLst>
          </p:cNvPr>
          <p:cNvGrpSpPr>
            <a:grpSpLocks noGrp="1" noUngrp="1" noRot="1" noMove="1" noResize="1"/>
          </p:cNvGrpSpPr>
          <p:nvPr/>
        </p:nvGrpSpPr>
        <p:grpSpPr>
          <a:xfrm>
            <a:off x="0" y="0"/>
            <a:ext cx="12192000" cy="6858000"/>
            <a:chOff x="0" y="0"/>
            <a:chExt cx="9144000" cy="5143500"/>
          </a:xfrm>
          <a:solidFill>
            <a:schemeClr val="bg1"/>
          </a:solidFill>
        </p:grpSpPr>
        <p:sp>
          <p:nvSpPr>
            <p:cNvPr id="167" name="Freeform: Shape 166">
              <a:extLst>
                <a:ext uri="{FF2B5EF4-FFF2-40B4-BE49-F238E27FC236}">
                  <a16:creationId xmlns:a16="http://schemas.microsoft.com/office/drawing/2014/main" id="{B5B7C15F-6AFC-C015-1194-F7D6C227421A}"/>
                </a:ext>
              </a:extLst>
            </p:cNvPr>
            <p:cNvSpPr>
              <a:spLocks noGrp="1" noRot="1" noMove="1" noResize="1" noEditPoints="1" noAdjustHandles="1" noChangeArrowheads="1" noChangeShapeType="1"/>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436E1851-4EA4-71EB-9181-5254603D0B72}"/>
                </a:ext>
              </a:extLst>
            </p:cNvPr>
            <p:cNvSpPr>
              <a:spLocks noGrp="1" noRot="1" noMove="1" noResize="1" noEditPoints="1" noAdjustHandles="1" noChangeArrowheads="1" noChangeShapeType="1"/>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F20F05E4-A789-1E12-06AB-CEC28F460778}"/>
                </a:ext>
              </a:extLst>
            </p:cNvPr>
            <p:cNvSpPr>
              <a:spLocks noGrp="1" noRot="1" noMove="1" noResize="1" noEditPoints="1" noAdjustHandles="1" noChangeArrowheads="1" noChangeShapeType="1"/>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9CB9D523-433C-9F97-0E6A-5D4154386C33}"/>
                </a:ext>
              </a:extLst>
            </p:cNvPr>
            <p:cNvSpPr>
              <a:spLocks noGrp="1" noRot="1" noMove="1" noResize="1" noEditPoints="1" noAdjustHandles="1" noChangeArrowheads="1" noChangeShapeType="1"/>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4FD7B68B-126E-5A3E-09FB-E5CC48CC3531}"/>
                </a:ext>
              </a:extLst>
            </p:cNvPr>
            <p:cNvSpPr>
              <a:spLocks noGrp="1" noRot="1" noMove="1" noResize="1" noEditPoints="1" noAdjustHandles="1" noChangeArrowheads="1" noChangeShapeType="1"/>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30F39988-6DD5-2B2C-CA3E-E1E1AC040CBE}"/>
                </a:ext>
              </a:extLst>
            </p:cNvPr>
            <p:cNvSpPr>
              <a:spLocks noGrp="1" noRot="1" noMove="1" noResize="1" noEditPoints="1" noAdjustHandles="1" noChangeArrowheads="1" noChangeShapeType="1"/>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A4A4A171-1758-7408-62EC-418635301DC2}"/>
                </a:ext>
              </a:extLst>
            </p:cNvPr>
            <p:cNvSpPr>
              <a:spLocks noGrp="1" noRot="1" noMove="1" noResize="1" noEditPoints="1" noAdjustHandles="1" noChangeArrowheads="1" noChangeShapeType="1"/>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166AB824-768A-3346-EBE2-A577362D6BA9}"/>
                </a:ext>
              </a:extLst>
            </p:cNvPr>
            <p:cNvSpPr>
              <a:spLocks noGrp="1" noRot="1" noMove="1" noResize="1" noEditPoints="1" noAdjustHandles="1" noChangeArrowheads="1" noChangeShapeType="1"/>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0DC02303-0BA1-C0B0-7AF0-85268C7E12B0}"/>
                </a:ext>
              </a:extLst>
            </p:cNvPr>
            <p:cNvSpPr>
              <a:spLocks noGrp="1" noRot="1" noMove="1" noResize="1" noEditPoints="1" noAdjustHandles="1" noChangeArrowheads="1" noChangeShapeType="1"/>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FA8D2924-2C06-1900-3D56-32F0D9B3E3D7}"/>
                </a:ext>
              </a:extLst>
            </p:cNvPr>
            <p:cNvSpPr>
              <a:spLocks noGrp="1" noRot="1" noMove="1" noResize="1" noEditPoints="1" noAdjustHandles="1" noChangeArrowheads="1" noChangeShapeType="1"/>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4267D0B8-DAD4-65B4-6600-50C73C6B4BD3}"/>
                </a:ext>
              </a:extLst>
            </p:cNvPr>
            <p:cNvSpPr>
              <a:spLocks noGrp="1" noRot="1" noMove="1" noResize="1" noEditPoints="1" noAdjustHandles="1" noChangeArrowheads="1" noChangeShapeType="1"/>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A64B5630-EB32-FBC9-E0CB-5798D9D77693}"/>
                </a:ext>
              </a:extLst>
            </p:cNvPr>
            <p:cNvSpPr>
              <a:spLocks noGrp="1" noRot="1" noMove="1" noResize="1" noEditPoints="1" noAdjustHandles="1" noChangeArrowheads="1" noChangeShapeType="1"/>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7A587B47-0AEF-24A3-2ADB-D4EBE7F5BDD5}"/>
                </a:ext>
              </a:extLst>
            </p:cNvPr>
            <p:cNvSpPr>
              <a:spLocks noGrp="1" noRot="1" noMove="1" noResize="1" noEditPoints="1" noAdjustHandles="1" noChangeArrowheads="1" noChangeShapeType="1"/>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BE0C4A92-5B03-C714-ECC2-26DD5B7C1C9D}"/>
                </a:ext>
              </a:extLst>
            </p:cNvPr>
            <p:cNvSpPr>
              <a:spLocks noGrp="1" noRot="1" noMove="1" noResize="1" noEditPoints="1" noAdjustHandles="1" noChangeArrowheads="1" noChangeShapeType="1"/>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8216496C-43B7-1117-1101-ED23BB095409}"/>
                </a:ext>
              </a:extLst>
            </p:cNvPr>
            <p:cNvSpPr>
              <a:spLocks noGrp="1" noRot="1" noMove="1" noResize="1" noEditPoints="1" noAdjustHandles="1" noChangeArrowheads="1" noChangeShapeType="1"/>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3DCDFA3D-F971-342C-3986-2BAC5C1BD58F}"/>
                </a:ext>
              </a:extLst>
            </p:cNvPr>
            <p:cNvSpPr>
              <a:spLocks noGrp="1" noRot="1" noMove="1" noResize="1" noEditPoints="1" noAdjustHandles="1" noChangeArrowheads="1" noChangeShapeType="1"/>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E73F638B-214B-11D2-7F40-14BEE6DE73EA}"/>
                </a:ext>
              </a:extLst>
            </p:cNvPr>
            <p:cNvSpPr>
              <a:spLocks noGrp="1" noRot="1" noMove="1" noResize="1" noEditPoints="1" noAdjustHandles="1" noChangeArrowheads="1" noChangeShapeType="1"/>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275FC475-439A-6B17-23FD-E363971ED737}"/>
                </a:ext>
              </a:extLst>
            </p:cNvPr>
            <p:cNvSpPr>
              <a:spLocks noGrp="1" noRot="1" noMove="1" noResize="1" noEditPoints="1" noAdjustHandles="1" noChangeArrowheads="1" noChangeShapeType="1"/>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3545C9A7-4534-8836-7EA8-44D4E50D70E7}"/>
                </a:ext>
              </a:extLst>
            </p:cNvPr>
            <p:cNvSpPr>
              <a:spLocks noGrp="1" noRot="1" noMove="1" noResize="1" noEditPoints="1" noAdjustHandles="1" noChangeArrowheads="1" noChangeShapeType="1"/>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2AA0F693-99E4-0746-E931-5F546F4EC52F}"/>
                </a:ext>
              </a:extLst>
            </p:cNvPr>
            <p:cNvSpPr>
              <a:spLocks noGrp="1" noRot="1" noMove="1" noResize="1" noEditPoints="1" noAdjustHandles="1" noChangeArrowheads="1" noChangeShapeType="1"/>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9E6986C5-D73F-E85A-6386-CD1B71064186}"/>
                </a:ext>
              </a:extLst>
            </p:cNvPr>
            <p:cNvSpPr>
              <a:spLocks noGrp="1" noRot="1" noMove="1" noResize="1" noEditPoints="1" noAdjustHandles="1" noChangeArrowheads="1" noChangeShapeType="1"/>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D9F71975-BC64-1148-51C1-3CD83092AFFC}"/>
                </a:ext>
              </a:extLst>
            </p:cNvPr>
            <p:cNvSpPr>
              <a:spLocks noGrp="1" noRot="1" noMove="1" noResize="1" noEditPoints="1" noAdjustHandles="1" noChangeArrowheads="1" noChangeShapeType="1"/>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A1CC842C-F53F-1D46-F1F7-E2E5A8801BC6}"/>
                </a:ext>
              </a:extLst>
            </p:cNvPr>
            <p:cNvSpPr>
              <a:spLocks noGrp="1" noRot="1" noMove="1" noResize="1" noEditPoints="1" noAdjustHandles="1" noChangeArrowheads="1" noChangeShapeType="1"/>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88E50900-75AA-ACF4-768B-FBD0ECC4C968}"/>
                </a:ext>
              </a:extLst>
            </p:cNvPr>
            <p:cNvSpPr>
              <a:spLocks noGrp="1" noRot="1" noMove="1" noResize="1" noEditPoints="1" noAdjustHandles="1" noChangeArrowheads="1" noChangeShapeType="1"/>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32C08A35-6FD1-43F9-8799-52F31204F31A}"/>
                </a:ext>
              </a:extLst>
            </p:cNvPr>
            <p:cNvSpPr>
              <a:spLocks noGrp="1" noRot="1" noMove="1" noResize="1" noEditPoints="1" noAdjustHandles="1" noChangeArrowheads="1" noChangeShapeType="1"/>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72F68F52-8E1C-B06F-38EC-E79AC8F99163}"/>
                </a:ext>
              </a:extLst>
            </p:cNvPr>
            <p:cNvSpPr>
              <a:spLocks noGrp="1" noRot="1" noMove="1" noResize="1" noEditPoints="1" noAdjustHandles="1" noChangeArrowheads="1" noChangeShapeType="1"/>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8AA146FF-7AFF-8DF4-35EB-21190686557D}"/>
                </a:ext>
              </a:extLst>
            </p:cNvPr>
            <p:cNvSpPr>
              <a:spLocks noGrp="1" noRot="1" noMove="1" noResize="1" noEditPoints="1" noAdjustHandles="1" noChangeArrowheads="1" noChangeShapeType="1"/>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EE7FB29D-4493-56CA-B775-2D0A38ECCD28}"/>
                </a:ext>
              </a:extLst>
            </p:cNvPr>
            <p:cNvSpPr>
              <a:spLocks noGrp="1" noRot="1" noMove="1" noResize="1" noEditPoints="1" noAdjustHandles="1" noChangeArrowheads="1" noChangeShapeType="1"/>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C500B96D-5BF2-7299-6DE5-E07BF1CC98A2}"/>
                </a:ext>
              </a:extLst>
            </p:cNvPr>
            <p:cNvSpPr>
              <a:spLocks noGrp="1" noRot="1" noMove="1" noResize="1" noEditPoints="1" noAdjustHandles="1" noChangeArrowheads="1" noChangeShapeType="1"/>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8DF8A00B-E8B3-985E-217D-6F772ECE6536}"/>
                </a:ext>
              </a:extLst>
            </p:cNvPr>
            <p:cNvSpPr>
              <a:spLocks noGrp="1" noRot="1" noMove="1" noResize="1" noEditPoints="1" noAdjustHandles="1" noChangeArrowheads="1" noChangeShapeType="1"/>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783A50AB-CF3B-1B71-C758-58F0D9A6943D}"/>
                </a:ext>
              </a:extLst>
            </p:cNvPr>
            <p:cNvSpPr>
              <a:spLocks noGrp="1" noRot="1" noMove="1" noResize="1" noEditPoints="1" noAdjustHandles="1" noChangeArrowheads="1" noChangeShapeType="1"/>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04364A32-78B2-BC19-2D33-159B50DC76A1}"/>
                </a:ext>
              </a:extLst>
            </p:cNvPr>
            <p:cNvSpPr>
              <a:spLocks noGrp="1" noRot="1" noMove="1" noResize="1" noEditPoints="1" noAdjustHandles="1" noChangeArrowheads="1" noChangeShapeType="1"/>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E86A2806-0FF2-B984-744C-CC2AA64C539E}"/>
                </a:ext>
              </a:extLst>
            </p:cNvPr>
            <p:cNvSpPr>
              <a:spLocks noGrp="1" noRot="1" noMove="1" noResize="1" noEditPoints="1" noAdjustHandles="1" noChangeArrowheads="1" noChangeShapeType="1"/>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2965FFAA-EADF-5A83-7D0F-FB872CF56081}"/>
                </a:ext>
              </a:extLst>
            </p:cNvPr>
            <p:cNvSpPr>
              <a:spLocks noGrp="1" noRot="1" noMove="1" noResize="1" noEditPoints="1" noAdjustHandles="1" noChangeArrowheads="1" noChangeShapeType="1"/>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F839D68B-498B-F122-F4A7-658C3932FAA0}"/>
                </a:ext>
              </a:extLst>
            </p:cNvPr>
            <p:cNvSpPr>
              <a:spLocks noGrp="1" noRot="1" noMove="1" noResize="1" noEditPoints="1" noAdjustHandles="1" noChangeArrowheads="1" noChangeShapeType="1"/>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EF766554-FC32-E5E9-12A0-C0D61DC877BF}"/>
                </a:ext>
              </a:extLst>
            </p:cNvPr>
            <p:cNvSpPr>
              <a:spLocks noGrp="1" noRot="1" noMove="1" noResize="1" noEditPoints="1" noAdjustHandles="1" noChangeArrowheads="1" noChangeShapeType="1"/>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93F95F06-E0F1-5EAB-D06A-E04CA8B399E3}"/>
                </a:ext>
              </a:extLst>
            </p:cNvPr>
            <p:cNvSpPr>
              <a:spLocks noGrp="1" noRot="1" noMove="1" noResize="1" noEditPoints="1" noAdjustHandles="1" noChangeArrowheads="1" noChangeShapeType="1"/>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B68F975-9D3F-C8ED-9DF7-1AB8334AC579}"/>
                </a:ext>
              </a:extLst>
            </p:cNvPr>
            <p:cNvSpPr>
              <a:spLocks noGrp="1" noRot="1" noMove="1" noResize="1" noEditPoints="1" noAdjustHandles="1" noChangeArrowheads="1" noChangeShapeType="1"/>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0BBE23AC-BA37-E0B2-0A14-D9F2429F5718}"/>
                </a:ext>
              </a:extLst>
            </p:cNvPr>
            <p:cNvSpPr>
              <a:spLocks noGrp="1" noRot="1" noMove="1" noResize="1" noEditPoints="1" noAdjustHandles="1" noChangeArrowheads="1" noChangeShapeType="1"/>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36293912-9983-4631-247D-022532C9C8EA}"/>
                </a:ext>
              </a:extLst>
            </p:cNvPr>
            <p:cNvSpPr>
              <a:spLocks noGrp="1" noRot="1" noMove="1" noResize="1" noEditPoints="1" noAdjustHandles="1" noChangeArrowheads="1" noChangeShapeType="1"/>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1346D994-427D-08C4-3B12-2B8CD025A8C6}"/>
                </a:ext>
              </a:extLst>
            </p:cNvPr>
            <p:cNvSpPr>
              <a:spLocks noGrp="1" noRot="1" noMove="1" noResize="1" noEditPoints="1" noAdjustHandles="1" noChangeArrowheads="1" noChangeShapeType="1"/>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FC12CD36-F3D4-8E0C-6681-9F2380E8A011}"/>
                </a:ext>
              </a:extLst>
            </p:cNvPr>
            <p:cNvSpPr>
              <a:spLocks noGrp="1" noRot="1" noMove="1" noResize="1" noEditPoints="1" noAdjustHandles="1" noChangeArrowheads="1" noChangeShapeType="1"/>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19F2BAEA-551A-D50F-FE41-9216C06C1330}"/>
                </a:ext>
              </a:extLst>
            </p:cNvPr>
            <p:cNvSpPr>
              <a:spLocks noGrp="1" noRot="1" noMove="1" noResize="1" noEditPoints="1" noAdjustHandles="1" noChangeArrowheads="1" noChangeShapeType="1"/>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8D748CB6-69D7-1C83-19D6-0627BF0FCCB8}"/>
                </a:ext>
              </a:extLst>
            </p:cNvPr>
            <p:cNvSpPr>
              <a:spLocks noGrp="1" noRot="1" noMove="1" noResize="1" noEditPoints="1" noAdjustHandles="1" noChangeArrowheads="1" noChangeShapeType="1"/>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F9F10C7-58A1-E051-F9D5-B3824E4638EB}"/>
                </a:ext>
              </a:extLst>
            </p:cNvPr>
            <p:cNvSpPr>
              <a:spLocks noGrp="1" noRot="1" noMove="1" noResize="1" noEditPoints="1" noAdjustHandles="1" noChangeArrowheads="1" noChangeShapeType="1"/>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EB06E175-0E2E-7E41-816F-CED213B6FE21}"/>
                </a:ext>
              </a:extLst>
            </p:cNvPr>
            <p:cNvSpPr>
              <a:spLocks noGrp="1" noRot="1" noMove="1" noResize="1" noEditPoints="1" noAdjustHandles="1" noChangeArrowheads="1" noChangeShapeType="1"/>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FC3FED64-7D17-35ED-4062-E892BDF9A830}"/>
                </a:ext>
              </a:extLst>
            </p:cNvPr>
            <p:cNvSpPr>
              <a:spLocks noGrp="1" noRot="1" noMove="1" noResize="1" noEditPoints="1" noAdjustHandles="1" noChangeArrowheads="1" noChangeShapeType="1"/>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AEF0CBC7-FEC8-3549-2E04-A5B42884CA38}"/>
                </a:ext>
              </a:extLst>
            </p:cNvPr>
            <p:cNvSpPr>
              <a:spLocks noGrp="1" noRot="1" noMove="1" noResize="1" noEditPoints="1" noAdjustHandles="1" noChangeArrowheads="1" noChangeShapeType="1"/>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F75F5486-EDAA-4C9A-6F13-6CA6FAC256D0}"/>
                </a:ext>
              </a:extLst>
            </p:cNvPr>
            <p:cNvSpPr>
              <a:spLocks noGrp="1" noRot="1" noMove="1" noResize="1" noEditPoints="1" noAdjustHandles="1" noChangeArrowheads="1" noChangeShapeType="1"/>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03B42ECF-06EC-C832-180F-B311CE036930}"/>
                </a:ext>
              </a:extLst>
            </p:cNvPr>
            <p:cNvSpPr>
              <a:spLocks noGrp="1" noRot="1" noMove="1" noResize="1" noEditPoints="1" noAdjustHandles="1" noChangeArrowheads="1" noChangeShapeType="1"/>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CAB36C4A-64F4-A0C4-A805-93C3D1B3A7C2}"/>
                </a:ext>
              </a:extLst>
            </p:cNvPr>
            <p:cNvSpPr>
              <a:spLocks noGrp="1" noRot="1" noMove="1" noResize="1" noEditPoints="1" noAdjustHandles="1" noChangeArrowheads="1" noChangeShapeType="1"/>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680EAFC4-5CBF-CD4F-AABC-E15B0B68F242}"/>
                </a:ext>
              </a:extLst>
            </p:cNvPr>
            <p:cNvSpPr>
              <a:spLocks noGrp="1" noRot="1" noMove="1" noResize="1" noEditPoints="1" noAdjustHandles="1" noChangeArrowheads="1" noChangeShapeType="1"/>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E1990E5B-8EA3-444C-0897-B65A9405C08D}"/>
                </a:ext>
              </a:extLst>
            </p:cNvPr>
            <p:cNvSpPr>
              <a:spLocks noGrp="1" noRot="1" noMove="1" noResize="1" noEditPoints="1" noAdjustHandles="1" noChangeArrowheads="1" noChangeShapeType="1"/>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42E2DB56-A470-3DC0-F027-7A627F299164}"/>
                </a:ext>
              </a:extLst>
            </p:cNvPr>
            <p:cNvSpPr>
              <a:spLocks noGrp="1" noRot="1" noMove="1" noResize="1" noEditPoints="1" noAdjustHandles="1" noChangeArrowheads="1" noChangeShapeType="1"/>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CFF2CB7E-2C73-9FEE-4C98-25297207D863}"/>
                </a:ext>
              </a:extLst>
            </p:cNvPr>
            <p:cNvSpPr>
              <a:spLocks noGrp="1" noRot="1" noMove="1" noResize="1" noEditPoints="1" noAdjustHandles="1" noChangeArrowheads="1" noChangeShapeType="1"/>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A12C0104-421F-51E8-33F1-98EA8F091B1E}"/>
                </a:ext>
              </a:extLst>
            </p:cNvPr>
            <p:cNvSpPr>
              <a:spLocks noGrp="1" noRot="1" noMove="1" noResize="1" noEditPoints="1" noAdjustHandles="1" noChangeArrowheads="1" noChangeShapeType="1"/>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144C7BF2-0313-730D-48F4-E9CEF885923A}"/>
                </a:ext>
              </a:extLst>
            </p:cNvPr>
            <p:cNvSpPr>
              <a:spLocks noGrp="1" noRot="1" noMove="1" noResize="1" noEditPoints="1" noAdjustHandles="1" noChangeArrowheads="1" noChangeShapeType="1"/>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392350-0800-09FE-9478-44C5351630E2}"/>
                </a:ext>
              </a:extLst>
            </p:cNvPr>
            <p:cNvSpPr>
              <a:spLocks noGrp="1" noRot="1" noMove="1" noResize="1" noEditPoints="1" noAdjustHandles="1" noChangeArrowheads="1" noChangeShapeType="1"/>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3E1C73BE-7754-F69F-AD63-BDB29457C079}"/>
                </a:ext>
              </a:extLst>
            </p:cNvPr>
            <p:cNvSpPr>
              <a:spLocks noGrp="1" noRot="1" noMove="1" noResize="1" noEditPoints="1" noAdjustHandles="1" noChangeArrowheads="1" noChangeShapeType="1"/>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31DD3761-D2D6-D423-C743-2AA38D789612}"/>
                </a:ext>
              </a:extLst>
            </p:cNvPr>
            <p:cNvSpPr>
              <a:spLocks noGrp="1" noRot="1" noMove="1" noResize="1" noEditPoints="1" noAdjustHandles="1" noChangeArrowheads="1" noChangeShapeType="1"/>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821DE31C-899E-C5EA-F8EF-367D8C6181CD}"/>
                </a:ext>
              </a:extLst>
            </p:cNvPr>
            <p:cNvSpPr>
              <a:spLocks noGrp="1" noRot="1" noMove="1" noResize="1" noEditPoints="1" noAdjustHandles="1" noChangeArrowheads="1" noChangeShapeType="1"/>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2D8D7CCA-77E8-BAE9-FC68-8F8BC1FCEF59}"/>
                </a:ext>
              </a:extLst>
            </p:cNvPr>
            <p:cNvSpPr>
              <a:spLocks noGrp="1" noRot="1" noMove="1" noResize="1" noEditPoints="1" noAdjustHandles="1" noChangeArrowheads="1" noChangeShapeType="1"/>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D8F74471-3A51-CF0C-FFA8-EF9BDFC3CEA5}"/>
                </a:ext>
              </a:extLst>
            </p:cNvPr>
            <p:cNvSpPr>
              <a:spLocks noGrp="1" noRot="1" noMove="1" noResize="1" noEditPoints="1" noAdjustHandles="1" noChangeArrowheads="1" noChangeShapeType="1"/>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4483FC66-3137-8730-C4CC-FCF4657AF94D}"/>
                </a:ext>
              </a:extLst>
            </p:cNvPr>
            <p:cNvSpPr>
              <a:spLocks noGrp="1" noRot="1" noMove="1" noResize="1" noEditPoints="1" noAdjustHandles="1" noChangeArrowheads="1" noChangeShapeType="1"/>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21C1EF73-7F17-CCAB-5532-6DD40EE5BAFF}"/>
                </a:ext>
              </a:extLst>
            </p:cNvPr>
            <p:cNvSpPr>
              <a:spLocks noGrp="1" noRot="1" noMove="1" noResize="1" noEditPoints="1" noAdjustHandles="1" noChangeArrowheads="1" noChangeShapeType="1"/>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BFBE1D3F-5F3F-FB45-01E7-2010695F5EF0}"/>
                </a:ext>
              </a:extLst>
            </p:cNvPr>
            <p:cNvSpPr>
              <a:spLocks noGrp="1" noRot="1" noMove="1" noResize="1" noEditPoints="1" noAdjustHandles="1" noChangeArrowheads="1" noChangeShapeType="1"/>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16074FFB-D5C3-401B-4B71-C55E682117C7}"/>
                </a:ext>
              </a:extLst>
            </p:cNvPr>
            <p:cNvSpPr>
              <a:spLocks noGrp="1" noRot="1" noMove="1" noResize="1" noEditPoints="1" noAdjustHandles="1" noChangeArrowheads="1" noChangeShapeType="1"/>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95633537-E0CA-70E6-5B6B-9553B12C5491}"/>
                </a:ext>
              </a:extLst>
            </p:cNvPr>
            <p:cNvSpPr>
              <a:spLocks noGrp="1" noRot="1" noMove="1" noResize="1" noEditPoints="1" noAdjustHandles="1" noChangeArrowheads="1" noChangeShapeType="1"/>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4E4C20C1-0F04-53CD-4EE4-71C5FE07FECE}"/>
                </a:ext>
              </a:extLst>
            </p:cNvPr>
            <p:cNvSpPr>
              <a:spLocks noGrp="1" noRot="1" noMove="1" noResize="1" noEditPoints="1" noAdjustHandles="1" noChangeArrowheads="1" noChangeShapeType="1"/>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8A996914-74B5-13A2-4AF8-53B35C66B92E}"/>
                </a:ext>
              </a:extLst>
            </p:cNvPr>
            <p:cNvSpPr>
              <a:spLocks noGrp="1" noRot="1" noMove="1" noResize="1" noEditPoints="1" noAdjustHandles="1" noChangeArrowheads="1" noChangeShapeType="1"/>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58B55236-EFC7-4E1E-AE19-A5F44AFDB1E2}"/>
                </a:ext>
              </a:extLst>
            </p:cNvPr>
            <p:cNvSpPr>
              <a:spLocks noGrp="1" noRot="1" noMove="1" noResize="1" noEditPoints="1" noAdjustHandles="1" noChangeArrowheads="1" noChangeShapeType="1"/>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ADD056C3-589D-8990-4365-D78EF365FB00}"/>
                </a:ext>
              </a:extLst>
            </p:cNvPr>
            <p:cNvSpPr>
              <a:spLocks noGrp="1" noRot="1" noMove="1" noResize="1" noEditPoints="1" noAdjustHandles="1" noChangeArrowheads="1" noChangeShapeType="1"/>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536AA53D-3D61-30C7-3A24-8EA3F54E955E}"/>
                </a:ext>
              </a:extLst>
            </p:cNvPr>
            <p:cNvSpPr>
              <a:spLocks noGrp="1" noRot="1" noMove="1" noResize="1" noEditPoints="1" noAdjustHandles="1" noChangeArrowheads="1" noChangeShapeType="1"/>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00144878-3A44-5E44-FCC4-307DCA09066B}"/>
                </a:ext>
              </a:extLst>
            </p:cNvPr>
            <p:cNvSpPr>
              <a:spLocks noGrp="1" noRot="1" noMove="1" noResize="1" noEditPoints="1" noAdjustHandles="1" noChangeArrowheads="1" noChangeShapeType="1"/>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A2D029E9-F1A3-85F2-644A-48832BD6BA41}"/>
                </a:ext>
              </a:extLst>
            </p:cNvPr>
            <p:cNvSpPr>
              <a:spLocks noGrp="1" noRot="1" noMove="1" noResize="1" noEditPoints="1" noAdjustHandles="1" noChangeArrowheads="1" noChangeShapeType="1"/>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FAFFDB87-3ADF-0F4F-54A2-9C748CE67963}"/>
                </a:ext>
              </a:extLst>
            </p:cNvPr>
            <p:cNvSpPr>
              <a:spLocks noGrp="1" noRot="1" noMove="1" noResize="1" noEditPoints="1" noAdjustHandles="1" noChangeArrowheads="1" noChangeShapeType="1"/>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2D304A30-1681-CE79-796A-17078A23469F}"/>
                </a:ext>
              </a:extLst>
            </p:cNvPr>
            <p:cNvSpPr>
              <a:spLocks noGrp="1" noRot="1" noMove="1" noResize="1" noEditPoints="1" noAdjustHandles="1" noChangeArrowheads="1" noChangeShapeType="1"/>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AC12E148-B017-B32A-EB1E-8305F2F77647}"/>
                </a:ext>
              </a:extLst>
            </p:cNvPr>
            <p:cNvSpPr>
              <a:spLocks noGrp="1" noRot="1" noMove="1" noResize="1" noEditPoints="1" noAdjustHandles="1" noChangeArrowheads="1" noChangeShapeType="1"/>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0C3F3093-00E9-214D-64CD-4C24C6CD7A32}"/>
                </a:ext>
              </a:extLst>
            </p:cNvPr>
            <p:cNvSpPr>
              <a:spLocks noGrp="1" noRot="1" noMove="1" noResize="1" noEditPoints="1" noAdjustHandles="1" noChangeArrowheads="1" noChangeShapeType="1"/>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194A6D59-F903-F97F-974E-A2DE7C1889BA}"/>
                </a:ext>
              </a:extLst>
            </p:cNvPr>
            <p:cNvSpPr>
              <a:spLocks noGrp="1" noRot="1" noMove="1" noResize="1" noEditPoints="1" noAdjustHandles="1" noChangeArrowheads="1" noChangeShapeType="1"/>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D10F7C8A-C781-D7C5-7DD2-EA60B27A0519}"/>
                </a:ext>
              </a:extLst>
            </p:cNvPr>
            <p:cNvSpPr>
              <a:spLocks noGrp="1" noRot="1" noMove="1" noResize="1" noEditPoints="1" noAdjustHandles="1" noChangeArrowheads="1" noChangeShapeType="1"/>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105B7CC-55D7-7B25-6305-140ED2EAB482}"/>
                </a:ext>
              </a:extLst>
            </p:cNvPr>
            <p:cNvSpPr>
              <a:spLocks noGrp="1" noRot="1" noMove="1" noResize="1" noEditPoints="1" noAdjustHandles="1" noChangeArrowheads="1" noChangeShapeType="1"/>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5F9577D0-F981-C9A3-D527-FF26A3952D0D}"/>
                </a:ext>
              </a:extLst>
            </p:cNvPr>
            <p:cNvSpPr>
              <a:spLocks noGrp="1" noRot="1" noMove="1" noResize="1" noEditPoints="1" noAdjustHandles="1" noChangeArrowheads="1" noChangeShapeType="1"/>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1D2872BE-1529-1B5F-97EE-5E9C8AE4519A}"/>
                </a:ext>
              </a:extLst>
            </p:cNvPr>
            <p:cNvSpPr>
              <a:spLocks noGrp="1" noRot="1" noMove="1" noResize="1" noEditPoints="1" noAdjustHandles="1" noChangeArrowheads="1" noChangeShapeType="1"/>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62BFE230-78D4-B3C4-BEF9-8BC9D25C011C}"/>
                </a:ext>
              </a:extLst>
            </p:cNvPr>
            <p:cNvSpPr>
              <a:spLocks noGrp="1" noRot="1" noMove="1" noResize="1" noEditPoints="1" noAdjustHandles="1" noChangeArrowheads="1" noChangeShapeType="1"/>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DEB36A78-F745-DCBE-9523-07218173A4A1}"/>
                </a:ext>
              </a:extLst>
            </p:cNvPr>
            <p:cNvSpPr>
              <a:spLocks noGrp="1" noRot="1" noMove="1" noResize="1" noEditPoints="1" noAdjustHandles="1" noChangeArrowheads="1" noChangeShapeType="1"/>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1D143F7F-073A-1F78-2E8A-BC320A6E317B}"/>
                </a:ext>
              </a:extLst>
            </p:cNvPr>
            <p:cNvSpPr>
              <a:spLocks noGrp="1" noRot="1" noMove="1" noResize="1" noEditPoints="1" noAdjustHandles="1" noChangeArrowheads="1" noChangeShapeType="1"/>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C3CC0C40-FA63-F4C1-4B82-62B2064E0DAA}"/>
                </a:ext>
              </a:extLst>
            </p:cNvPr>
            <p:cNvSpPr>
              <a:spLocks noGrp="1" noRot="1" noMove="1" noResize="1" noEditPoints="1" noAdjustHandles="1" noChangeArrowheads="1" noChangeShapeType="1"/>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7CD72ADE-2905-2BEC-E345-9024197900CF}"/>
                </a:ext>
              </a:extLst>
            </p:cNvPr>
            <p:cNvSpPr>
              <a:spLocks noGrp="1" noRot="1" noMove="1" noResize="1" noEditPoints="1" noAdjustHandles="1" noChangeArrowheads="1" noChangeShapeType="1"/>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7D6A5D3-4B20-C8B2-0D1C-ECC4CD920019}"/>
                </a:ext>
              </a:extLst>
            </p:cNvPr>
            <p:cNvSpPr>
              <a:spLocks noGrp="1" noRot="1" noMove="1" noResize="1" noEditPoints="1" noAdjustHandles="1" noChangeArrowheads="1" noChangeShapeType="1"/>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4BDDEFE3-F040-EB26-8B7D-3714B3F9EA03}"/>
                </a:ext>
              </a:extLst>
            </p:cNvPr>
            <p:cNvSpPr>
              <a:spLocks noGrp="1" noRot="1" noMove="1" noResize="1" noEditPoints="1" noAdjustHandles="1" noChangeArrowheads="1" noChangeShapeType="1"/>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4E204C66-E230-39BC-9378-9B7BB341C142}"/>
                </a:ext>
              </a:extLst>
            </p:cNvPr>
            <p:cNvSpPr>
              <a:spLocks noGrp="1" noRot="1" noMove="1" noResize="1" noEditPoints="1" noAdjustHandles="1" noChangeArrowheads="1" noChangeShapeType="1"/>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6F8940E4-3808-8B6A-7326-92DC595BFE27}"/>
                </a:ext>
              </a:extLst>
            </p:cNvPr>
            <p:cNvSpPr>
              <a:spLocks noGrp="1" noRot="1" noMove="1" noResize="1" noEditPoints="1" noAdjustHandles="1" noChangeArrowheads="1" noChangeShapeType="1"/>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2B83CFE1-E799-14EE-A695-F0B1A2E9641F}"/>
                </a:ext>
              </a:extLst>
            </p:cNvPr>
            <p:cNvSpPr>
              <a:spLocks noGrp="1" noRot="1" noMove="1" noResize="1" noEditPoints="1" noAdjustHandles="1" noChangeArrowheads="1" noChangeShapeType="1"/>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D51A1799-742F-5784-9ED5-39A00B64FD48}"/>
                </a:ext>
              </a:extLst>
            </p:cNvPr>
            <p:cNvSpPr>
              <a:spLocks noGrp="1" noRot="1" noMove="1" noResize="1" noEditPoints="1" noAdjustHandles="1" noChangeArrowheads="1" noChangeShapeType="1"/>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0C9DBB26-278A-5D74-06D3-2A290A65ABB4}"/>
                </a:ext>
              </a:extLst>
            </p:cNvPr>
            <p:cNvSpPr>
              <a:spLocks noGrp="1" noRot="1" noMove="1" noResize="1" noEditPoints="1" noAdjustHandles="1" noChangeArrowheads="1" noChangeShapeType="1"/>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A7B6F317-A645-35C5-E3B7-BFBE596C8958}"/>
                </a:ext>
              </a:extLst>
            </p:cNvPr>
            <p:cNvSpPr>
              <a:spLocks noGrp="1" noRot="1" noMove="1" noResize="1" noEditPoints="1" noAdjustHandles="1" noChangeArrowheads="1" noChangeShapeType="1"/>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C9871BC3-A698-9C50-9F69-9952E2709542}"/>
                </a:ext>
              </a:extLst>
            </p:cNvPr>
            <p:cNvSpPr>
              <a:spLocks noGrp="1" noRot="1" noMove="1" noResize="1" noEditPoints="1" noAdjustHandles="1" noChangeArrowheads="1" noChangeShapeType="1"/>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DFB31127-51B4-B52E-65C6-C697C7E9A2ED}"/>
                </a:ext>
              </a:extLst>
            </p:cNvPr>
            <p:cNvSpPr>
              <a:spLocks noGrp="1" noRot="1" noMove="1" noResize="1" noEditPoints="1" noAdjustHandles="1" noChangeArrowheads="1" noChangeShapeType="1"/>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98EE5A25-8B9B-F99F-F21F-86CB5F466524}"/>
                </a:ext>
              </a:extLst>
            </p:cNvPr>
            <p:cNvSpPr>
              <a:spLocks noGrp="1" noRot="1" noMove="1" noResize="1" noEditPoints="1" noAdjustHandles="1" noChangeArrowheads="1" noChangeShapeType="1"/>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D6F417EA-06A5-38F1-CF63-EE19FE81635C}"/>
                </a:ext>
              </a:extLst>
            </p:cNvPr>
            <p:cNvSpPr>
              <a:spLocks noGrp="1" noRot="1" noMove="1" noResize="1" noEditPoints="1" noAdjustHandles="1" noChangeArrowheads="1" noChangeShapeType="1"/>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64CF5E50-C01F-8D4E-66C0-3C3E14AD04D6}"/>
                </a:ext>
              </a:extLst>
            </p:cNvPr>
            <p:cNvSpPr>
              <a:spLocks noGrp="1" noRot="1" noMove="1" noResize="1" noEditPoints="1" noAdjustHandles="1" noChangeArrowheads="1" noChangeShapeType="1"/>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3CD3CA10-4E9C-EA32-C02C-9358B3C52E00}"/>
                </a:ext>
              </a:extLst>
            </p:cNvPr>
            <p:cNvSpPr>
              <a:spLocks noGrp="1" noRot="1" noMove="1" noResize="1" noEditPoints="1" noAdjustHandles="1" noChangeArrowheads="1" noChangeShapeType="1"/>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707E2280-CC67-E9B2-60FB-3A9E285ACCA5}"/>
                </a:ext>
              </a:extLst>
            </p:cNvPr>
            <p:cNvSpPr>
              <a:spLocks noGrp="1" noRot="1" noMove="1" noResize="1" noEditPoints="1" noAdjustHandles="1" noChangeArrowheads="1" noChangeShapeType="1"/>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6654A678-EC58-ECFE-4369-EDBF871A5854}"/>
                </a:ext>
              </a:extLst>
            </p:cNvPr>
            <p:cNvSpPr>
              <a:spLocks noGrp="1" noRot="1" noMove="1" noResize="1" noEditPoints="1" noAdjustHandles="1" noChangeArrowheads="1" noChangeShapeType="1"/>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BDCDE485-813D-0D69-DE4E-D60EAB7C6CAA}"/>
                </a:ext>
              </a:extLst>
            </p:cNvPr>
            <p:cNvSpPr>
              <a:spLocks noGrp="1" noRot="1" noMove="1" noResize="1" noEditPoints="1" noAdjustHandles="1" noChangeArrowheads="1" noChangeShapeType="1"/>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D8003DE7-2480-2809-DFB0-2206E2E537D4}"/>
                </a:ext>
              </a:extLst>
            </p:cNvPr>
            <p:cNvSpPr>
              <a:spLocks noGrp="1" noRot="1" noMove="1" noResize="1" noEditPoints="1" noAdjustHandles="1" noChangeArrowheads="1" noChangeShapeType="1"/>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65B1AEF3-90C8-AE28-0ADC-E525D547C89D}"/>
                </a:ext>
              </a:extLst>
            </p:cNvPr>
            <p:cNvSpPr>
              <a:spLocks noGrp="1" noRot="1" noMove="1" noResize="1" noEditPoints="1" noAdjustHandles="1" noChangeArrowheads="1" noChangeShapeType="1"/>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FBFC9116-B0BF-03B0-9679-D38AC694E562}"/>
                </a:ext>
              </a:extLst>
            </p:cNvPr>
            <p:cNvSpPr>
              <a:spLocks noGrp="1" noRot="1" noMove="1" noResize="1" noEditPoints="1" noAdjustHandles="1" noChangeArrowheads="1" noChangeShapeType="1"/>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B8984335-2E73-EC1B-97C2-85E9C618C583}"/>
                </a:ext>
              </a:extLst>
            </p:cNvPr>
            <p:cNvSpPr>
              <a:spLocks noGrp="1" noRot="1" noMove="1" noResize="1" noEditPoints="1" noAdjustHandles="1" noChangeArrowheads="1" noChangeShapeType="1"/>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37F4FEF6-8BAC-08BA-4BDA-B90B0DF54879}"/>
                </a:ext>
              </a:extLst>
            </p:cNvPr>
            <p:cNvSpPr>
              <a:spLocks noGrp="1" noRot="1" noMove="1" noResize="1" noEditPoints="1" noAdjustHandles="1" noChangeArrowheads="1" noChangeShapeType="1"/>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52995475-B5A9-3FDF-FBBB-3A7E5FBAF3E0}"/>
                </a:ext>
              </a:extLst>
            </p:cNvPr>
            <p:cNvSpPr>
              <a:spLocks noGrp="1" noRot="1" noMove="1" noResize="1" noEditPoints="1" noAdjustHandles="1" noChangeArrowheads="1" noChangeShapeType="1"/>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60560E15-0521-CDD9-14EB-D620951A15E3}"/>
                </a:ext>
              </a:extLst>
            </p:cNvPr>
            <p:cNvSpPr>
              <a:spLocks noGrp="1" noRot="1" noMove="1" noResize="1" noEditPoints="1" noAdjustHandles="1" noChangeArrowheads="1" noChangeShapeType="1"/>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283DE157-1A76-DFB0-9E22-C6C07EDDF1B9}"/>
                </a:ext>
              </a:extLst>
            </p:cNvPr>
            <p:cNvSpPr>
              <a:spLocks noGrp="1" noRot="1" noMove="1" noResize="1" noEditPoints="1" noAdjustHandles="1" noChangeArrowheads="1" noChangeShapeType="1"/>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CAF31694-4673-FB02-228B-450E05733F3C}"/>
                </a:ext>
              </a:extLst>
            </p:cNvPr>
            <p:cNvSpPr>
              <a:spLocks noGrp="1" noRot="1" noMove="1" noResize="1" noEditPoints="1" noAdjustHandles="1" noChangeArrowheads="1" noChangeShapeType="1"/>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CC1717BD-75FD-0995-ED50-F8EF90525445}"/>
                </a:ext>
              </a:extLst>
            </p:cNvPr>
            <p:cNvSpPr>
              <a:spLocks noGrp="1" noRot="1" noMove="1" noResize="1" noEditPoints="1" noAdjustHandles="1" noChangeArrowheads="1" noChangeShapeType="1"/>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C18BA22E-99C6-B45A-E688-27CCF3C0AD4A}"/>
                </a:ext>
              </a:extLst>
            </p:cNvPr>
            <p:cNvSpPr>
              <a:spLocks noGrp="1" noRot="1" noMove="1" noResize="1" noEditPoints="1" noAdjustHandles="1" noChangeArrowheads="1" noChangeShapeType="1"/>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9D8888D6-DA97-3B74-2531-50E574EAFE79}"/>
                </a:ext>
              </a:extLst>
            </p:cNvPr>
            <p:cNvSpPr>
              <a:spLocks noGrp="1" noRot="1" noMove="1" noResize="1" noEditPoints="1" noAdjustHandles="1" noChangeArrowheads="1" noChangeShapeType="1"/>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B66E6B6-E8CE-3D20-A22D-396B7E983886}"/>
                </a:ext>
              </a:extLst>
            </p:cNvPr>
            <p:cNvSpPr>
              <a:spLocks noGrp="1" noRot="1" noMove="1" noResize="1" noEditPoints="1" noAdjustHandles="1" noChangeArrowheads="1" noChangeShapeType="1"/>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C172C4F5-093D-B2F0-B22B-E8D115D85040}"/>
                </a:ext>
              </a:extLst>
            </p:cNvPr>
            <p:cNvSpPr>
              <a:spLocks noGrp="1" noRot="1" noMove="1" noResize="1" noEditPoints="1" noAdjustHandles="1" noChangeArrowheads="1" noChangeShapeType="1"/>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ABA04D4B-1493-1C15-CF66-3C5899E14720}"/>
                </a:ext>
              </a:extLst>
            </p:cNvPr>
            <p:cNvSpPr>
              <a:spLocks noGrp="1" noRot="1" noMove="1" noResize="1" noEditPoints="1" noAdjustHandles="1" noChangeArrowheads="1" noChangeShapeType="1"/>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CFE463A0-8003-21A6-830B-A17C7642BF3F}"/>
                </a:ext>
              </a:extLst>
            </p:cNvPr>
            <p:cNvSpPr>
              <a:spLocks noGrp="1" noRot="1" noMove="1" noResize="1" noEditPoints="1" noAdjustHandles="1" noChangeArrowheads="1" noChangeShapeType="1"/>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C9468C3D-0123-82BC-E5A2-C7959D88250B}"/>
                </a:ext>
              </a:extLst>
            </p:cNvPr>
            <p:cNvSpPr>
              <a:spLocks noGrp="1" noRot="1" noMove="1" noResize="1" noEditPoints="1" noAdjustHandles="1" noChangeArrowheads="1" noChangeShapeType="1"/>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E3A23B8A-C4ED-EBE2-951E-8AB9D8D11CA9}"/>
                </a:ext>
              </a:extLst>
            </p:cNvPr>
            <p:cNvSpPr>
              <a:spLocks noGrp="1" noRot="1" noMove="1" noResize="1" noEditPoints="1" noAdjustHandles="1" noChangeArrowheads="1" noChangeShapeType="1"/>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53F2F136-134F-F5A3-5628-25BAD7FA6927}"/>
                </a:ext>
              </a:extLst>
            </p:cNvPr>
            <p:cNvSpPr>
              <a:spLocks noGrp="1" noRot="1" noMove="1" noResize="1" noEditPoints="1" noAdjustHandles="1" noChangeArrowheads="1" noChangeShapeType="1"/>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EE30E2E9-75A0-47CF-1FE8-5E09AD92A927}"/>
                </a:ext>
              </a:extLst>
            </p:cNvPr>
            <p:cNvSpPr>
              <a:spLocks noGrp="1" noRot="1" noMove="1" noResize="1" noEditPoints="1" noAdjustHandles="1" noChangeArrowheads="1" noChangeShapeType="1"/>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311F78FD-A46A-3685-2FA7-61A7546B001F}"/>
                </a:ext>
              </a:extLst>
            </p:cNvPr>
            <p:cNvSpPr>
              <a:spLocks noGrp="1" noRot="1" noMove="1" noResize="1" noEditPoints="1" noAdjustHandles="1" noChangeArrowheads="1" noChangeShapeType="1"/>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278AEAB1-A5B5-56EE-4FEB-9EB4E6FF8B36}"/>
                </a:ext>
              </a:extLst>
            </p:cNvPr>
            <p:cNvSpPr>
              <a:spLocks noGrp="1" noRot="1" noMove="1" noResize="1" noEditPoints="1" noAdjustHandles="1" noChangeArrowheads="1" noChangeShapeType="1"/>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B5BEF18D-A8AD-2868-7196-7A2B88C82DA7}"/>
                </a:ext>
              </a:extLst>
            </p:cNvPr>
            <p:cNvSpPr>
              <a:spLocks noGrp="1" noRot="1" noMove="1" noResize="1" noEditPoints="1" noAdjustHandles="1" noChangeArrowheads="1" noChangeShapeType="1"/>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62C999C0-F89A-34F0-5C22-7F6F792FF599}"/>
                </a:ext>
              </a:extLst>
            </p:cNvPr>
            <p:cNvSpPr>
              <a:spLocks noGrp="1" noRot="1" noMove="1" noResize="1" noEditPoints="1" noAdjustHandles="1" noChangeArrowheads="1" noChangeShapeType="1"/>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1C2FC264-FD1F-2DBF-2E56-988DD5FC554F}"/>
                </a:ext>
              </a:extLst>
            </p:cNvPr>
            <p:cNvSpPr>
              <a:spLocks noGrp="1" noRot="1" noMove="1" noResize="1" noEditPoints="1" noAdjustHandles="1" noChangeArrowheads="1" noChangeShapeType="1"/>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3CF16D1A-967E-1BA9-DF69-2F0F53367483}"/>
                </a:ext>
              </a:extLst>
            </p:cNvPr>
            <p:cNvSpPr>
              <a:spLocks noGrp="1" noRot="1" noMove="1" noResize="1" noEditPoints="1" noAdjustHandles="1" noChangeArrowheads="1" noChangeShapeType="1"/>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B346C632-4E56-0A48-8983-25405A9DF31C}"/>
                </a:ext>
              </a:extLst>
            </p:cNvPr>
            <p:cNvSpPr>
              <a:spLocks noGrp="1" noRot="1" noMove="1" noResize="1" noEditPoints="1" noAdjustHandles="1" noChangeArrowheads="1" noChangeShapeType="1"/>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FF30A911-3A08-4A77-B921-55E8CB06CA87}"/>
                </a:ext>
              </a:extLst>
            </p:cNvPr>
            <p:cNvSpPr>
              <a:spLocks noGrp="1" noRot="1" noMove="1" noResize="1" noEditPoints="1" noAdjustHandles="1" noChangeArrowheads="1" noChangeShapeType="1"/>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4993A9FE-3DAB-61D0-9D25-CD5357E42931}"/>
                </a:ext>
              </a:extLst>
            </p:cNvPr>
            <p:cNvSpPr>
              <a:spLocks noGrp="1" noRot="1" noMove="1" noResize="1" noEditPoints="1" noAdjustHandles="1" noChangeArrowheads="1" noChangeShapeType="1"/>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723FAC81-71A9-C8E8-5397-C513CAFA612B}"/>
                </a:ext>
              </a:extLst>
            </p:cNvPr>
            <p:cNvSpPr>
              <a:spLocks noGrp="1" noRot="1" noMove="1" noResize="1" noEditPoints="1" noAdjustHandles="1" noChangeArrowheads="1" noChangeShapeType="1"/>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9B2B9091-D150-A2BA-D1DE-4C8ED349D0BA}"/>
                </a:ext>
              </a:extLst>
            </p:cNvPr>
            <p:cNvSpPr>
              <a:spLocks noGrp="1" noRot="1" noMove="1" noResize="1" noEditPoints="1" noAdjustHandles="1" noChangeArrowheads="1" noChangeShapeType="1"/>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B4405A4-90A3-1E7B-80D2-18B0D88B4B72}"/>
                </a:ext>
              </a:extLst>
            </p:cNvPr>
            <p:cNvSpPr>
              <a:spLocks noGrp="1" noRot="1" noMove="1" noResize="1" noEditPoints="1" noAdjustHandles="1" noChangeArrowheads="1" noChangeShapeType="1"/>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2463B354-B9D8-3161-4A62-3162294BD17C}"/>
                </a:ext>
              </a:extLst>
            </p:cNvPr>
            <p:cNvSpPr>
              <a:spLocks noGrp="1" noRot="1" noMove="1" noResize="1" noEditPoints="1" noAdjustHandles="1" noChangeArrowheads="1" noChangeShapeType="1"/>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A14C9E30-8589-2255-42BE-45BC9A84AA2A}"/>
                </a:ext>
              </a:extLst>
            </p:cNvPr>
            <p:cNvSpPr>
              <a:spLocks noGrp="1" noRot="1" noMove="1" noResize="1" noEditPoints="1" noAdjustHandles="1" noChangeArrowheads="1" noChangeShapeType="1"/>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307C21BE-1B21-DF6B-0264-81F70EC732BB}"/>
                </a:ext>
              </a:extLst>
            </p:cNvPr>
            <p:cNvSpPr>
              <a:spLocks noGrp="1" noRot="1" noMove="1" noResize="1" noEditPoints="1" noAdjustHandles="1" noChangeArrowheads="1" noChangeShapeType="1"/>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DA2645FB-37AC-D2F6-E78F-4DD74DA4FB9E}"/>
                </a:ext>
              </a:extLst>
            </p:cNvPr>
            <p:cNvSpPr>
              <a:spLocks noGrp="1" noRot="1" noMove="1" noResize="1" noEditPoints="1" noAdjustHandles="1" noChangeArrowheads="1" noChangeShapeType="1"/>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C3C0D4A6-DD75-CC7E-3D85-A85AC5B2F17D}"/>
                </a:ext>
              </a:extLst>
            </p:cNvPr>
            <p:cNvSpPr>
              <a:spLocks noGrp="1" noRot="1" noMove="1" noResize="1" noEditPoints="1" noAdjustHandles="1" noChangeArrowheads="1" noChangeShapeType="1"/>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3C174FDC-D373-A277-0FEB-AE063DFBCDE5}"/>
                </a:ext>
              </a:extLst>
            </p:cNvPr>
            <p:cNvSpPr>
              <a:spLocks noGrp="1" noRot="1" noMove="1" noResize="1" noEditPoints="1" noAdjustHandles="1" noChangeArrowheads="1" noChangeShapeType="1"/>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grpSp>
      <p:grpSp>
        <p:nvGrpSpPr>
          <p:cNvPr id="5" name="Logo">
            <a:extLst>
              <a:ext uri="{FF2B5EF4-FFF2-40B4-BE49-F238E27FC236}">
                <a16:creationId xmlns:a16="http://schemas.microsoft.com/office/drawing/2014/main" id="{83A1A177-CA63-21D9-0664-AA267E568B2D}"/>
              </a:ext>
            </a:extLst>
          </p:cNvPr>
          <p:cNvGrpSpPr>
            <a:grpSpLocks noGrp="1" noUngrp="1" noRot="1" noMove="1" noResize="1"/>
          </p:cNvGrpSpPr>
          <p:nvPr/>
        </p:nvGrpSpPr>
        <p:grpSpPr>
          <a:xfrm>
            <a:off x="768774" y="5329767"/>
            <a:ext cx="3626556" cy="762000"/>
            <a:chOff x="569913" y="4057650"/>
            <a:chExt cx="2447925" cy="514350"/>
          </a:xfrm>
        </p:grpSpPr>
        <p:sp>
          <p:nvSpPr>
            <p:cNvPr id="26" name="Freeform 5">
              <a:extLst>
                <a:ext uri="{FF2B5EF4-FFF2-40B4-BE49-F238E27FC236}">
                  <a16:creationId xmlns:a16="http://schemas.microsoft.com/office/drawing/2014/main" id="{1006C298-DB65-4F2B-A9EE-26B4473AF6EB}"/>
                </a:ext>
              </a:extLst>
            </p:cNvPr>
            <p:cNvSpPr>
              <a:spLocks noGrp="1" noRot="1" noMove="1" noResize="1" noEditPoints="1" noAdjustHandles="1" noChangeArrowheads="1" noChangeShapeType="1"/>
            </p:cNvSpPr>
            <p:nvPr/>
          </p:nvSpPr>
          <p:spPr bwMode="auto">
            <a:xfrm>
              <a:off x="1243013" y="4160838"/>
              <a:ext cx="257175" cy="307975"/>
            </a:xfrm>
            <a:custGeom>
              <a:avLst/>
              <a:gdLst>
                <a:gd name="T0" fmla="*/ 213 w 379"/>
                <a:gd name="T1" fmla="*/ 0 h 453"/>
                <a:gd name="T2" fmla="*/ 272 w 379"/>
                <a:gd name="T3" fmla="*/ 6 h 453"/>
                <a:gd name="T4" fmla="*/ 318 w 379"/>
                <a:gd name="T5" fmla="*/ 24 h 453"/>
                <a:gd name="T6" fmla="*/ 347 w 379"/>
                <a:gd name="T7" fmla="*/ 59 h 453"/>
                <a:gd name="T8" fmla="*/ 358 w 379"/>
                <a:gd name="T9" fmla="*/ 112 h 453"/>
                <a:gd name="T10" fmla="*/ 342 w 379"/>
                <a:gd name="T11" fmla="*/ 169 h 453"/>
                <a:gd name="T12" fmla="*/ 296 w 379"/>
                <a:gd name="T13" fmla="*/ 207 h 453"/>
                <a:gd name="T14" fmla="*/ 359 w 379"/>
                <a:gd name="T15" fmla="*/ 249 h 453"/>
                <a:gd name="T16" fmla="*/ 379 w 379"/>
                <a:gd name="T17" fmla="*/ 322 h 453"/>
                <a:gd name="T18" fmla="*/ 366 w 379"/>
                <a:gd name="T19" fmla="*/ 381 h 453"/>
                <a:gd name="T20" fmla="*/ 330 w 379"/>
                <a:gd name="T21" fmla="*/ 422 h 453"/>
                <a:gd name="T22" fmla="*/ 279 w 379"/>
                <a:gd name="T23" fmla="*/ 446 h 453"/>
                <a:gd name="T24" fmla="*/ 219 w 379"/>
                <a:gd name="T25" fmla="*/ 453 h 453"/>
                <a:gd name="T26" fmla="*/ 0 w 379"/>
                <a:gd name="T27" fmla="*/ 453 h 453"/>
                <a:gd name="T28" fmla="*/ 0 w 379"/>
                <a:gd name="T29" fmla="*/ 0 h 453"/>
                <a:gd name="T30" fmla="*/ 213 w 379"/>
                <a:gd name="T31" fmla="*/ 0 h 453"/>
                <a:gd name="T32" fmla="*/ 200 w 379"/>
                <a:gd name="T33" fmla="*/ 183 h 453"/>
                <a:gd name="T34" fmla="*/ 244 w 379"/>
                <a:gd name="T35" fmla="*/ 171 h 453"/>
                <a:gd name="T36" fmla="*/ 261 w 379"/>
                <a:gd name="T37" fmla="*/ 129 h 453"/>
                <a:gd name="T38" fmla="*/ 256 w 379"/>
                <a:gd name="T39" fmla="*/ 103 h 453"/>
                <a:gd name="T40" fmla="*/ 240 w 379"/>
                <a:gd name="T41" fmla="*/ 88 h 453"/>
                <a:gd name="T42" fmla="*/ 218 w 379"/>
                <a:gd name="T43" fmla="*/ 80 h 453"/>
                <a:gd name="T44" fmla="*/ 193 w 379"/>
                <a:gd name="T45" fmla="*/ 77 h 453"/>
                <a:gd name="T46" fmla="*/ 99 w 379"/>
                <a:gd name="T47" fmla="*/ 77 h 453"/>
                <a:gd name="T48" fmla="*/ 99 w 379"/>
                <a:gd name="T49" fmla="*/ 183 h 453"/>
                <a:gd name="T50" fmla="*/ 200 w 379"/>
                <a:gd name="T51" fmla="*/ 183 h 453"/>
                <a:gd name="T52" fmla="*/ 206 w 379"/>
                <a:gd name="T53" fmla="*/ 376 h 453"/>
                <a:gd name="T54" fmla="*/ 234 w 379"/>
                <a:gd name="T55" fmla="*/ 373 h 453"/>
                <a:gd name="T56" fmla="*/ 257 w 379"/>
                <a:gd name="T57" fmla="*/ 363 h 453"/>
                <a:gd name="T58" fmla="*/ 274 w 379"/>
                <a:gd name="T59" fmla="*/ 345 h 453"/>
                <a:gd name="T60" fmla="*/ 280 w 379"/>
                <a:gd name="T61" fmla="*/ 316 h 453"/>
                <a:gd name="T62" fmla="*/ 260 w 379"/>
                <a:gd name="T63" fmla="*/ 266 h 453"/>
                <a:gd name="T64" fmla="*/ 208 w 379"/>
                <a:gd name="T65" fmla="*/ 251 h 453"/>
                <a:gd name="T66" fmla="*/ 99 w 379"/>
                <a:gd name="T67" fmla="*/ 251 h 453"/>
                <a:gd name="T68" fmla="*/ 99 w 379"/>
                <a:gd name="T69" fmla="*/ 376 h 453"/>
                <a:gd name="T70" fmla="*/ 206 w 379"/>
                <a:gd name="T71" fmla="*/ 37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9" h="453">
                  <a:moveTo>
                    <a:pt x="213" y="0"/>
                  </a:moveTo>
                  <a:cubicBezTo>
                    <a:pt x="235" y="0"/>
                    <a:pt x="254" y="2"/>
                    <a:pt x="272" y="6"/>
                  </a:cubicBezTo>
                  <a:cubicBezTo>
                    <a:pt x="290" y="9"/>
                    <a:pt x="305" y="16"/>
                    <a:pt x="318" y="24"/>
                  </a:cubicBezTo>
                  <a:cubicBezTo>
                    <a:pt x="330" y="33"/>
                    <a:pt x="340" y="45"/>
                    <a:pt x="347" y="59"/>
                  </a:cubicBezTo>
                  <a:cubicBezTo>
                    <a:pt x="354" y="73"/>
                    <a:pt x="358" y="91"/>
                    <a:pt x="358" y="112"/>
                  </a:cubicBezTo>
                  <a:cubicBezTo>
                    <a:pt x="358" y="135"/>
                    <a:pt x="353" y="154"/>
                    <a:pt x="342" y="169"/>
                  </a:cubicBezTo>
                  <a:cubicBezTo>
                    <a:pt x="332" y="185"/>
                    <a:pt x="316" y="197"/>
                    <a:pt x="296" y="207"/>
                  </a:cubicBezTo>
                  <a:cubicBezTo>
                    <a:pt x="324" y="215"/>
                    <a:pt x="345" y="229"/>
                    <a:pt x="359" y="249"/>
                  </a:cubicBezTo>
                  <a:cubicBezTo>
                    <a:pt x="372" y="269"/>
                    <a:pt x="379" y="293"/>
                    <a:pt x="379" y="322"/>
                  </a:cubicBezTo>
                  <a:cubicBezTo>
                    <a:pt x="379" y="345"/>
                    <a:pt x="375" y="364"/>
                    <a:pt x="366" y="381"/>
                  </a:cubicBezTo>
                  <a:cubicBezTo>
                    <a:pt x="357" y="398"/>
                    <a:pt x="345" y="412"/>
                    <a:pt x="330" y="422"/>
                  </a:cubicBezTo>
                  <a:cubicBezTo>
                    <a:pt x="315" y="433"/>
                    <a:pt x="298" y="441"/>
                    <a:pt x="279" y="446"/>
                  </a:cubicBezTo>
                  <a:cubicBezTo>
                    <a:pt x="259" y="451"/>
                    <a:pt x="240" y="453"/>
                    <a:pt x="219" y="453"/>
                  </a:cubicBezTo>
                  <a:cubicBezTo>
                    <a:pt x="0" y="453"/>
                    <a:pt x="0" y="453"/>
                    <a:pt x="0" y="453"/>
                  </a:cubicBezTo>
                  <a:cubicBezTo>
                    <a:pt x="0" y="0"/>
                    <a:pt x="0" y="0"/>
                    <a:pt x="0" y="0"/>
                  </a:cubicBezTo>
                  <a:lnTo>
                    <a:pt x="213" y="0"/>
                  </a:lnTo>
                  <a:close/>
                  <a:moveTo>
                    <a:pt x="200" y="183"/>
                  </a:moveTo>
                  <a:cubicBezTo>
                    <a:pt x="218" y="183"/>
                    <a:pt x="233" y="179"/>
                    <a:pt x="244" y="171"/>
                  </a:cubicBezTo>
                  <a:cubicBezTo>
                    <a:pt x="256" y="162"/>
                    <a:pt x="261" y="149"/>
                    <a:pt x="261" y="129"/>
                  </a:cubicBezTo>
                  <a:cubicBezTo>
                    <a:pt x="261" y="119"/>
                    <a:pt x="259" y="110"/>
                    <a:pt x="256" y="103"/>
                  </a:cubicBezTo>
                  <a:cubicBezTo>
                    <a:pt x="252" y="97"/>
                    <a:pt x="247" y="91"/>
                    <a:pt x="240" y="88"/>
                  </a:cubicBezTo>
                  <a:cubicBezTo>
                    <a:pt x="234" y="84"/>
                    <a:pt x="227" y="81"/>
                    <a:pt x="218" y="80"/>
                  </a:cubicBezTo>
                  <a:cubicBezTo>
                    <a:pt x="210" y="78"/>
                    <a:pt x="202" y="77"/>
                    <a:pt x="193" y="77"/>
                  </a:cubicBezTo>
                  <a:cubicBezTo>
                    <a:pt x="99" y="77"/>
                    <a:pt x="99" y="77"/>
                    <a:pt x="99" y="77"/>
                  </a:cubicBezTo>
                  <a:cubicBezTo>
                    <a:pt x="99" y="183"/>
                    <a:pt x="99" y="183"/>
                    <a:pt x="99" y="183"/>
                  </a:cubicBezTo>
                  <a:lnTo>
                    <a:pt x="200" y="183"/>
                  </a:lnTo>
                  <a:close/>
                  <a:moveTo>
                    <a:pt x="206" y="376"/>
                  </a:moveTo>
                  <a:cubicBezTo>
                    <a:pt x="216" y="376"/>
                    <a:pt x="225" y="375"/>
                    <a:pt x="234" y="373"/>
                  </a:cubicBezTo>
                  <a:cubicBezTo>
                    <a:pt x="243" y="371"/>
                    <a:pt x="251" y="368"/>
                    <a:pt x="257" y="363"/>
                  </a:cubicBezTo>
                  <a:cubicBezTo>
                    <a:pt x="264" y="359"/>
                    <a:pt x="270" y="353"/>
                    <a:pt x="274" y="345"/>
                  </a:cubicBezTo>
                  <a:cubicBezTo>
                    <a:pt x="278" y="338"/>
                    <a:pt x="280" y="328"/>
                    <a:pt x="280" y="316"/>
                  </a:cubicBezTo>
                  <a:cubicBezTo>
                    <a:pt x="280" y="293"/>
                    <a:pt x="273" y="276"/>
                    <a:pt x="260" y="266"/>
                  </a:cubicBezTo>
                  <a:cubicBezTo>
                    <a:pt x="247" y="256"/>
                    <a:pt x="229" y="251"/>
                    <a:pt x="208" y="251"/>
                  </a:cubicBezTo>
                  <a:cubicBezTo>
                    <a:pt x="99" y="251"/>
                    <a:pt x="99" y="251"/>
                    <a:pt x="99" y="251"/>
                  </a:cubicBezTo>
                  <a:cubicBezTo>
                    <a:pt x="99" y="376"/>
                    <a:pt x="99" y="376"/>
                    <a:pt x="99" y="376"/>
                  </a:cubicBezTo>
                  <a:lnTo>
                    <a:pt x="206" y="37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7" name="Freeform 6">
              <a:extLst>
                <a:ext uri="{FF2B5EF4-FFF2-40B4-BE49-F238E27FC236}">
                  <a16:creationId xmlns:a16="http://schemas.microsoft.com/office/drawing/2014/main" id="{C413873F-B596-4126-9F0B-5B23ECE87820}"/>
                </a:ext>
              </a:extLst>
            </p:cNvPr>
            <p:cNvSpPr>
              <a:spLocks noGrp="1" noRot="1" noMove="1" noResize="1" noEditPoints="1" noAdjustHandles="1" noChangeArrowheads="1" noChangeShapeType="1"/>
            </p:cNvSpPr>
            <p:nvPr/>
          </p:nvSpPr>
          <p:spPr bwMode="auto">
            <a:xfrm>
              <a:off x="1531938" y="4244975"/>
              <a:ext cx="209550" cy="230188"/>
            </a:xfrm>
            <a:custGeom>
              <a:avLst/>
              <a:gdLst>
                <a:gd name="T0" fmla="*/ 222 w 308"/>
                <a:gd name="T1" fmla="*/ 328 h 337"/>
                <a:gd name="T2" fmla="*/ 222 w 308"/>
                <a:gd name="T3" fmla="*/ 283 h 337"/>
                <a:gd name="T4" fmla="*/ 220 w 308"/>
                <a:gd name="T5" fmla="*/ 283 h 337"/>
                <a:gd name="T6" fmla="*/ 176 w 308"/>
                <a:gd name="T7" fmla="*/ 324 h 337"/>
                <a:gd name="T8" fmla="*/ 120 w 308"/>
                <a:gd name="T9" fmla="*/ 337 h 337"/>
                <a:gd name="T10" fmla="*/ 61 w 308"/>
                <a:gd name="T11" fmla="*/ 327 h 337"/>
                <a:gd name="T12" fmla="*/ 24 w 308"/>
                <a:gd name="T13" fmla="*/ 300 h 337"/>
                <a:gd name="T14" fmla="*/ 5 w 308"/>
                <a:gd name="T15" fmla="*/ 257 h 337"/>
                <a:gd name="T16" fmla="*/ 0 w 308"/>
                <a:gd name="T17" fmla="*/ 202 h 337"/>
                <a:gd name="T18" fmla="*/ 0 w 308"/>
                <a:gd name="T19" fmla="*/ 0 h 337"/>
                <a:gd name="T20" fmla="*/ 90 w 308"/>
                <a:gd name="T21" fmla="*/ 0 h 337"/>
                <a:gd name="T22" fmla="*/ 90 w 308"/>
                <a:gd name="T23" fmla="*/ 185 h 337"/>
                <a:gd name="T24" fmla="*/ 103 w 308"/>
                <a:gd name="T25" fmla="*/ 246 h 337"/>
                <a:gd name="T26" fmla="*/ 148 w 308"/>
                <a:gd name="T27" fmla="*/ 266 h 337"/>
                <a:gd name="T28" fmla="*/ 201 w 308"/>
                <a:gd name="T29" fmla="*/ 244 h 337"/>
                <a:gd name="T30" fmla="*/ 218 w 308"/>
                <a:gd name="T31" fmla="*/ 172 h 337"/>
                <a:gd name="T32" fmla="*/ 218 w 308"/>
                <a:gd name="T33" fmla="*/ 0 h 337"/>
                <a:gd name="T34" fmla="*/ 308 w 308"/>
                <a:gd name="T35" fmla="*/ 0 h 337"/>
                <a:gd name="T36" fmla="*/ 308 w 308"/>
                <a:gd name="T37" fmla="*/ 328 h 337"/>
                <a:gd name="T38" fmla="*/ 222 w 308"/>
                <a:gd name="T39" fmla="*/ 32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37">
                  <a:moveTo>
                    <a:pt x="222" y="328"/>
                  </a:moveTo>
                  <a:cubicBezTo>
                    <a:pt x="222" y="283"/>
                    <a:pt x="222" y="283"/>
                    <a:pt x="222" y="283"/>
                  </a:cubicBezTo>
                  <a:cubicBezTo>
                    <a:pt x="220" y="283"/>
                    <a:pt x="220" y="283"/>
                    <a:pt x="220" y="283"/>
                  </a:cubicBezTo>
                  <a:cubicBezTo>
                    <a:pt x="209" y="302"/>
                    <a:pt x="194" y="315"/>
                    <a:pt x="176" y="324"/>
                  </a:cubicBezTo>
                  <a:cubicBezTo>
                    <a:pt x="158" y="332"/>
                    <a:pt x="139" y="337"/>
                    <a:pt x="120" y="337"/>
                  </a:cubicBezTo>
                  <a:cubicBezTo>
                    <a:pt x="96" y="337"/>
                    <a:pt x="76" y="333"/>
                    <a:pt x="61" y="327"/>
                  </a:cubicBezTo>
                  <a:cubicBezTo>
                    <a:pt x="45" y="321"/>
                    <a:pt x="33" y="312"/>
                    <a:pt x="24" y="300"/>
                  </a:cubicBezTo>
                  <a:cubicBezTo>
                    <a:pt x="15" y="288"/>
                    <a:pt x="9" y="274"/>
                    <a:pt x="5" y="257"/>
                  </a:cubicBezTo>
                  <a:cubicBezTo>
                    <a:pt x="2" y="241"/>
                    <a:pt x="0" y="222"/>
                    <a:pt x="0" y="202"/>
                  </a:cubicBezTo>
                  <a:cubicBezTo>
                    <a:pt x="0" y="0"/>
                    <a:pt x="0" y="0"/>
                    <a:pt x="0" y="0"/>
                  </a:cubicBezTo>
                  <a:cubicBezTo>
                    <a:pt x="90" y="0"/>
                    <a:pt x="90" y="0"/>
                    <a:pt x="90" y="0"/>
                  </a:cubicBezTo>
                  <a:cubicBezTo>
                    <a:pt x="90" y="185"/>
                    <a:pt x="90" y="185"/>
                    <a:pt x="90" y="185"/>
                  </a:cubicBezTo>
                  <a:cubicBezTo>
                    <a:pt x="90" y="213"/>
                    <a:pt x="94" y="233"/>
                    <a:pt x="103" y="246"/>
                  </a:cubicBezTo>
                  <a:cubicBezTo>
                    <a:pt x="111" y="259"/>
                    <a:pt x="126" y="266"/>
                    <a:pt x="148" y="266"/>
                  </a:cubicBezTo>
                  <a:cubicBezTo>
                    <a:pt x="172" y="266"/>
                    <a:pt x="190" y="259"/>
                    <a:pt x="201" y="244"/>
                  </a:cubicBezTo>
                  <a:cubicBezTo>
                    <a:pt x="212" y="230"/>
                    <a:pt x="218" y="206"/>
                    <a:pt x="218" y="172"/>
                  </a:cubicBezTo>
                  <a:cubicBezTo>
                    <a:pt x="218" y="0"/>
                    <a:pt x="218" y="0"/>
                    <a:pt x="218" y="0"/>
                  </a:cubicBezTo>
                  <a:cubicBezTo>
                    <a:pt x="308" y="0"/>
                    <a:pt x="308" y="0"/>
                    <a:pt x="308" y="0"/>
                  </a:cubicBezTo>
                  <a:cubicBezTo>
                    <a:pt x="308" y="328"/>
                    <a:pt x="308" y="328"/>
                    <a:pt x="308" y="328"/>
                  </a:cubicBezTo>
                  <a:lnTo>
                    <a:pt x="222" y="3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8" name="Freeform 7">
              <a:extLst>
                <a:ext uri="{FF2B5EF4-FFF2-40B4-BE49-F238E27FC236}">
                  <a16:creationId xmlns:a16="http://schemas.microsoft.com/office/drawing/2014/main" id="{33551E3B-B69B-404C-81B2-BD23385A3704}"/>
                </a:ext>
              </a:extLst>
            </p:cNvPr>
            <p:cNvSpPr>
              <a:spLocks noGrp="1" noRot="1" noMove="1" noResize="1" noEditPoints="1" noAdjustHandles="1" noChangeArrowheads="1" noChangeShapeType="1"/>
            </p:cNvSpPr>
            <p:nvPr/>
          </p:nvSpPr>
          <p:spPr bwMode="auto">
            <a:xfrm>
              <a:off x="1770063" y="4238625"/>
              <a:ext cx="206375" cy="236538"/>
            </a:xfrm>
            <a:custGeom>
              <a:avLst/>
              <a:gdLst>
                <a:gd name="T0" fmla="*/ 92 w 304"/>
                <a:gd name="T1" fmla="*/ 256 h 346"/>
                <a:gd name="T2" fmla="*/ 108 w 304"/>
                <a:gd name="T3" fmla="*/ 273 h 346"/>
                <a:gd name="T4" fmla="*/ 129 w 304"/>
                <a:gd name="T5" fmla="*/ 283 h 346"/>
                <a:gd name="T6" fmla="*/ 155 w 304"/>
                <a:gd name="T7" fmla="*/ 286 h 346"/>
                <a:gd name="T8" fmla="*/ 175 w 304"/>
                <a:gd name="T9" fmla="*/ 284 h 346"/>
                <a:gd name="T10" fmla="*/ 194 w 304"/>
                <a:gd name="T11" fmla="*/ 277 h 346"/>
                <a:gd name="T12" fmla="*/ 209 w 304"/>
                <a:gd name="T13" fmla="*/ 264 h 346"/>
                <a:gd name="T14" fmla="*/ 214 w 304"/>
                <a:gd name="T15" fmla="*/ 244 h 346"/>
                <a:gd name="T16" fmla="*/ 187 w 304"/>
                <a:gd name="T17" fmla="*/ 213 h 346"/>
                <a:gd name="T18" fmla="*/ 112 w 304"/>
                <a:gd name="T19" fmla="*/ 193 h 346"/>
                <a:gd name="T20" fmla="*/ 74 w 304"/>
                <a:gd name="T21" fmla="*/ 183 h 346"/>
                <a:gd name="T22" fmla="*/ 40 w 304"/>
                <a:gd name="T23" fmla="*/ 167 h 346"/>
                <a:gd name="T24" fmla="*/ 17 w 304"/>
                <a:gd name="T25" fmla="*/ 142 h 346"/>
                <a:gd name="T26" fmla="*/ 8 w 304"/>
                <a:gd name="T27" fmla="*/ 106 h 346"/>
                <a:gd name="T28" fmla="*/ 20 w 304"/>
                <a:gd name="T29" fmla="*/ 53 h 346"/>
                <a:gd name="T30" fmla="*/ 53 w 304"/>
                <a:gd name="T31" fmla="*/ 21 h 346"/>
                <a:gd name="T32" fmla="*/ 99 w 304"/>
                <a:gd name="T33" fmla="*/ 5 h 346"/>
                <a:gd name="T34" fmla="*/ 151 w 304"/>
                <a:gd name="T35" fmla="*/ 0 h 346"/>
                <a:gd name="T36" fmla="*/ 203 w 304"/>
                <a:gd name="T37" fmla="*/ 5 h 346"/>
                <a:gd name="T38" fmla="*/ 247 w 304"/>
                <a:gd name="T39" fmla="*/ 22 h 346"/>
                <a:gd name="T40" fmla="*/ 280 w 304"/>
                <a:gd name="T41" fmla="*/ 54 h 346"/>
                <a:gd name="T42" fmla="*/ 296 w 304"/>
                <a:gd name="T43" fmla="*/ 105 h 346"/>
                <a:gd name="T44" fmla="*/ 210 w 304"/>
                <a:gd name="T45" fmla="*/ 105 h 346"/>
                <a:gd name="T46" fmla="*/ 190 w 304"/>
                <a:gd name="T47" fmla="*/ 70 h 346"/>
                <a:gd name="T48" fmla="*/ 148 w 304"/>
                <a:gd name="T49" fmla="*/ 60 h 346"/>
                <a:gd name="T50" fmla="*/ 132 w 304"/>
                <a:gd name="T51" fmla="*/ 61 h 346"/>
                <a:gd name="T52" fmla="*/ 116 w 304"/>
                <a:gd name="T53" fmla="*/ 66 h 346"/>
                <a:gd name="T54" fmla="*/ 103 w 304"/>
                <a:gd name="T55" fmla="*/ 75 h 346"/>
                <a:gd name="T56" fmla="*/ 98 w 304"/>
                <a:gd name="T57" fmla="*/ 91 h 346"/>
                <a:gd name="T58" fmla="*/ 107 w 304"/>
                <a:gd name="T59" fmla="*/ 111 h 346"/>
                <a:gd name="T60" fmla="*/ 130 w 304"/>
                <a:gd name="T61" fmla="*/ 123 h 346"/>
                <a:gd name="T62" fmla="*/ 163 w 304"/>
                <a:gd name="T63" fmla="*/ 132 h 346"/>
                <a:gd name="T64" fmla="*/ 200 w 304"/>
                <a:gd name="T65" fmla="*/ 140 h 346"/>
                <a:gd name="T66" fmla="*/ 239 w 304"/>
                <a:gd name="T67" fmla="*/ 151 h 346"/>
                <a:gd name="T68" fmla="*/ 272 w 304"/>
                <a:gd name="T69" fmla="*/ 167 h 346"/>
                <a:gd name="T70" fmla="*/ 296 w 304"/>
                <a:gd name="T71" fmla="*/ 193 h 346"/>
                <a:gd name="T72" fmla="*/ 304 w 304"/>
                <a:gd name="T73" fmla="*/ 232 h 346"/>
                <a:gd name="T74" fmla="*/ 291 w 304"/>
                <a:gd name="T75" fmla="*/ 286 h 346"/>
                <a:gd name="T76" fmla="*/ 257 w 304"/>
                <a:gd name="T77" fmla="*/ 321 h 346"/>
                <a:gd name="T78" fmla="*/ 209 w 304"/>
                <a:gd name="T79" fmla="*/ 340 h 346"/>
                <a:gd name="T80" fmla="*/ 155 w 304"/>
                <a:gd name="T81" fmla="*/ 346 h 346"/>
                <a:gd name="T82" fmla="*/ 99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8" y="273"/>
                  </a:cubicBezTo>
                  <a:cubicBezTo>
                    <a:pt x="114" y="277"/>
                    <a:pt x="121" y="281"/>
                    <a:pt x="129" y="283"/>
                  </a:cubicBezTo>
                  <a:cubicBezTo>
                    <a:pt x="138" y="285"/>
                    <a:pt x="146" y="286"/>
                    <a:pt x="155" y="286"/>
                  </a:cubicBezTo>
                  <a:cubicBezTo>
                    <a:pt x="162" y="286"/>
                    <a:pt x="168" y="285"/>
                    <a:pt x="175" y="284"/>
                  </a:cubicBezTo>
                  <a:cubicBezTo>
                    <a:pt x="182" y="282"/>
                    <a:pt x="189" y="280"/>
                    <a:pt x="194" y="277"/>
                  </a:cubicBezTo>
                  <a:cubicBezTo>
                    <a:pt x="200" y="273"/>
                    <a:pt x="205" y="269"/>
                    <a:pt x="209" y="264"/>
                  </a:cubicBezTo>
                  <a:cubicBezTo>
                    <a:pt x="212" y="259"/>
                    <a:pt x="214" y="252"/>
                    <a:pt x="214" y="244"/>
                  </a:cubicBezTo>
                  <a:cubicBezTo>
                    <a:pt x="214" y="230"/>
                    <a:pt x="205" y="220"/>
                    <a:pt x="187" y="213"/>
                  </a:cubicBezTo>
                  <a:cubicBezTo>
                    <a:pt x="169" y="207"/>
                    <a:pt x="144" y="200"/>
                    <a:pt x="112" y="193"/>
                  </a:cubicBezTo>
                  <a:cubicBezTo>
                    <a:pt x="99" y="190"/>
                    <a:pt x="86" y="187"/>
                    <a:pt x="74" y="183"/>
                  </a:cubicBezTo>
                  <a:cubicBezTo>
                    <a:pt x="61" y="179"/>
                    <a:pt x="50" y="173"/>
                    <a:pt x="40" y="167"/>
                  </a:cubicBezTo>
                  <a:cubicBezTo>
                    <a:pt x="31" y="160"/>
                    <a:pt x="23" y="152"/>
                    <a:pt x="17" y="142"/>
                  </a:cubicBezTo>
                  <a:cubicBezTo>
                    <a:pt x="11" y="132"/>
                    <a:pt x="8" y="120"/>
                    <a:pt x="8" y="106"/>
                  </a:cubicBezTo>
                  <a:cubicBezTo>
                    <a:pt x="8" y="84"/>
                    <a:pt x="12" y="67"/>
                    <a:pt x="20" y="53"/>
                  </a:cubicBezTo>
                  <a:cubicBezTo>
                    <a:pt x="29" y="40"/>
                    <a:pt x="39" y="29"/>
                    <a:pt x="53" y="21"/>
                  </a:cubicBezTo>
                  <a:cubicBezTo>
                    <a:pt x="67" y="14"/>
                    <a:pt x="82" y="8"/>
                    <a:pt x="99" y="5"/>
                  </a:cubicBezTo>
                  <a:cubicBezTo>
                    <a:pt x="116" y="2"/>
                    <a:pt x="133" y="0"/>
                    <a:pt x="151" y="0"/>
                  </a:cubicBezTo>
                  <a:cubicBezTo>
                    <a:pt x="169" y="0"/>
                    <a:pt x="186" y="2"/>
                    <a:pt x="203" y="5"/>
                  </a:cubicBezTo>
                  <a:cubicBezTo>
                    <a:pt x="219" y="9"/>
                    <a:pt x="234" y="14"/>
                    <a:pt x="247" y="22"/>
                  </a:cubicBezTo>
                  <a:cubicBezTo>
                    <a:pt x="260" y="30"/>
                    <a:pt x="271" y="41"/>
                    <a:pt x="280" y="54"/>
                  </a:cubicBezTo>
                  <a:cubicBezTo>
                    <a:pt x="289" y="68"/>
                    <a:pt x="294" y="85"/>
                    <a:pt x="296" y="105"/>
                  </a:cubicBezTo>
                  <a:cubicBezTo>
                    <a:pt x="210" y="105"/>
                    <a:pt x="210" y="105"/>
                    <a:pt x="210" y="105"/>
                  </a:cubicBezTo>
                  <a:cubicBezTo>
                    <a:pt x="209" y="88"/>
                    <a:pt x="202" y="76"/>
                    <a:pt x="190" y="70"/>
                  </a:cubicBezTo>
                  <a:cubicBezTo>
                    <a:pt x="178" y="64"/>
                    <a:pt x="164" y="60"/>
                    <a:pt x="148" y="60"/>
                  </a:cubicBezTo>
                  <a:cubicBezTo>
                    <a:pt x="143" y="60"/>
                    <a:pt x="138" y="61"/>
                    <a:pt x="132" y="61"/>
                  </a:cubicBezTo>
                  <a:cubicBezTo>
                    <a:pt x="126" y="62"/>
                    <a:pt x="120" y="63"/>
                    <a:pt x="116" y="66"/>
                  </a:cubicBezTo>
                  <a:cubicBezTo>
                    <a:pt x="111" y="68"/>
                    <a:pt x="107" y="71"/>
                    <a:pt x="103" y="75"/>
                  </a:cubicBezTo>
                  <a:cubicBezTo>
                    <a:pt x="100" y="79"/>
                    <a:pt x="98" y="84"/>
                    <a:pt x="98" y="91"/>
                  </a:cubicBezTo>
                  <a:cubicBezTo>
                    <a:pt x="98" y="99"/>
                    <a:pt x="101" y="106"/>
                    <a:pt x="107" y="111"/>
                  </a:cubicBezTo>
                  <a:cubicBezTo>
                    <a:pt x="113" y="116"/>
                    <a:pt x="121" y="120"/>
                    <a:pt x="130" y="123"/>
                  </a:cubicBezTo>
                  <a:cubicBezTo>
                    <a:pt x="140" y="126"/>
                    <a:pt x="151" y="129"/>
                    <a:pt x="163" y="132"/>
                  </a:cubicBezTo>
                  <a:cubicBezTo>
                    <a:pt x="175" y="134"/>
                    <a:pt x="188" y="137"/>
                    <a:pt x="200" y="140"/>
                  </a:cubicBezTo>
                  <a:cubicBezTo>
                    <a:pt x="213" y="143"/>
                    <a:pt x="226" y="146"/>
                    <a:pt x="239" y="151"/>
                  </a:cubicBezTo>
                  <a:cubicBezTo>
                    <a:pt x="251" y="155"/>
                    <a:pt x="262" y="160"/>
                    <a:pt x="272" y="167"/>
                  </a:cubicBezTo>
                  <a:cubicBezTo>
                    <a:pt x="282" y="174"/>
                    <a:pt x="290" y="183"/>
                    <a:pt x="296" y="193"/>
                  </a:cubicBezTo>
                  <a:cubicBezTo>
                    <a:pt x="301" y="204"/>
                    <a:pt x="304" y="217"/>
                    <a:pt x="304" y="232"/>
                  </a:cubicBezTo>
                  <a:cubicBezTo>
                    <a:pt x="304" y="253"/>
                    <a:pt x="300" y="272"/>
                    <a:pt x="291" y="286"/>
                  </a:cubicBezTo>
                  <a:cubicBezTo>
                    <a:pt x="283" y="301"/>
                    <a:pt x="271" y="313"/>
                    <a:pt x="257" y="321"/>
                  </a:cubicBezTo>
                  <a:cubicBezTo>
                    <a:pt x="243" y="330"/>
                    <a:pt x="227" y="337"/>
                    <a:pt x="209" y="340"/>
                  </a:cubicBezTo>
                  <a:cubicBezTo>
                    <a:pt x="192" y="344"/>
                    <a:pt x="173" y="346"/>
                    <a:pt x="155" y="346"/>
                  </a:cubicBezTo>
                  <a:cubicBezTo>
                    <a:pt x="136" y="346"/>
                    <a:pt x="117" y="344"/>
                    <a:pt x="99"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29" name="Freeform 8">
              <a:extLst>
                <a:ext uri="{FF2B5EF4-FFF2-40B4-BE49-F238E27FC236}">
                  <a16:creationId xmlns:a16="http://schemas.microsoft.com/office/drawing/2014/main" id="{CA29777D-3DDB-40B1-A949-832B1B2897DB}"/>
                </a:ext>
              </a:extLst>
            </p:cNvPr>
            <p:cNvSpPr>
              <a:spLocks noGrp="1" noRot="1" noMove="1" noResize="1" noEditPoints="1" noAdjustHandles="1" noChangeArrowheads="1" noChangeShapeType="1"/>
            </p:cNvSpPr>
            <p:nvPr/>
          </p:nvSpPr>
          <p:spPr bwMode="auto">
            <a:xfrm>
              <a:off x="2008188" y="4160838"/>
              <a:ext cx="60325" cy="307975"/>
            </a:xfrm>
            <a:custGeom>
              <a:avLst/>
              <a:gdLst>
                <a:gd name="T0" fmla="*/ 0 w 38"/>
                <a:gd name="T1" fmla="*/ 31 h 194"/>
                <a:gd name="T2" fmla="*/ 0 w 38"/>
                <a:gd name="T3" fmla="*/ 0 h 194"/>
                <a:gd name="T4" fmla="*/ 38 w 38"/>
                <a:gd name="T5" fmla="*/ 0 h 194"/>
                <a:gd name="T6" fmla="*/ 38 w 38"/>
                <a:gd name="T7" fmla="*/ 31 h 194"/>
                <a:gd name="T8" fmla="*/ 0 w 38"/>
                <a:gd name="T9" fmla="*/ 31 h 194"/>
                <a:gd name="T10" fmla="*/ 38 w 38"/>
                <a:gd name="T11" fmla="*/ 53 h 194"/>
                <a:gd name="T12" fmla="*/ 38 w 38"/>
                <a:gd name="T13" fmla="*/ 194 h 194"/>
                <a:gd name="T14" fmla="*/ 0 w 38"/>
                <a:gd name="T15" fmla="*/ 194 h 194"/>
                <a:gd name="T16" fmla="*/ 0 w 38"/>
                <a:gd name="T17" fmla="*/ 53 h 194"/>
                <a:gd name="T18" fmla="*/ 38 w 38"/>
                <a:gd name="T19" fmla="*/ 5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94">
                  <a:moveTo>
                    <a:pt x="0" y="31"/>
                  </a:moveTo>
                  <a:lnTo>
                    <a:pt x="0" y="0"/>
                  </a:lnTo>
                  <a:lnTo>
                    <a:pt x="38" y="0"/>
                  </a:lnTo>
                  <a:lnTo>
                    <a:pt x="38" y="31"/>
                  </a:lnTo>
                  <a:lnTo>
                    <a:pt x="0" y="31"/>
                  </a:lnTo>
                  <a:close/>
                  <a:moveTo>
                    <a:pt x="38" y="53"/>
                  </a:moveTo>
                  <a:lnTo>
                    <a:pt x="38" y="194"/>
                  </a:lnTo>
                  <a:lnTo>
                    <a:pt x="0" y="194"/>
                  </a:lnTo>
                  <a:lnTo>
                    <a:pt x="0" y="53"/>
                  </a:lnTo>
                  <a:lnTo>
                    <a:pt x="38"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0" name="Freeform 9">
              <a:extLst>
                <a:ext uri="{FF2B5EF4-FFF2-40B4-BE49-F238E27FC236}">
                  <a16:creationId xmlns:a16="http://schemas.microsoft.com/office/drawing/2014/main" id="{DE079AB5-C2C7-4C68-91EA-055CF3721EF4}"/>
                </a:ext>
              </a:extLst>
            </p:cNvPr>
            <p:cNvSpPr>
              <a:spLocks noGrp="1" noRot="1" noMove="1" noResize="1" noEditPoints="1" noAdjustHandles="1" noChangeArrowheads="1" noChangeShapeType="1"/>
            </p:cNvSpPr>
            <p:nvPr/>
          </p:nvSpPr>
          <p:spPr bwMode="auto">
            <a:xfrm>
              <a:off x="2109788" y="4238625"/>
              <a:ext cx="209550" cy="230188"/>
            </a:xfrm>
            <a:custGeom>
              <a:avLst/>
              <a:gdLst>
                <a:gd name="T0" fmla="*/ 86 w 308"/>
                <a:gd name="T1" fmla="*/ 9 h 337"/>
                <a:gd name="T2" fmla="*/ 86 w 308"/>
                <a:gd name="T3" fmla="*/ 55 h 337"/>
                <a:gd name="T4" fmla="*/ 88 w 308"/>
                <a:gd name="T5" fmla="*/ 55 h 337"/>
                <a:gd name="T6" fmla="*/ 132 w 308"/>
                <a:gd name="T7" fmla="*/ 13 h 337"/>
                <a:gd name="T8" fmla="*/ 188 w 308"/>
                <a:gd name="T9" fmla="*/ 0 h 337"/>
                <a:gd name="T10" fmla="*/ 248 w 308"/>
                <a:gd name="T11" fmla="*/ 10 h 337"/>
                <a:gd name="T12" fmla="*/ 284 w 308"/>
                <a:gd name="T13" fmla="*/ 37 h 337"/>
                <a:gd name="T14" fmla="*/ 303 w 308"/>
                <a:gd name="T15" fmla="*/ 80 h 337"/>
                <a:gd name="T16" fmla="*/ 308 w 308"/>
                <a:gd name="T17" fmla="*/ 135 h 337"/>
                <a:gd name="T18" fmla="*/ 308 w 308"/>
                <a:gd name="T19" fmla="*/ 337 h 337"/>
                <a:gd name="T20" fmla="*/ 218 w 308"/>
                <a:gd name="T21" fmla="*/ 337 h 337"/>
                <a:gd name="T22" fmla="*/ 218 w 308"/>
                <a:gd name="T23" fmla="*/ 152 h 337"/>
                <a:gd name="T24" fmla="*/ 205 w 308"/>
                <a:gd name="T25" fmla="*/ 91 h 337"/>
                <a:gd name="T26" fmla="*/ 160 w 308"/>
                <a:gd name="T27" fmla="*/ 71 h 337"/>
                <a:gd name="T28" fmla="*/ 107 w 308"/>
                <a:gd name="T29" fmla="*/ 93 h 337"/>
                <a:gd name="T30" fmla="*/ 90 w 308"/>
                <a:gd name="T31" fmla="*/ 165 h 337"/>
                <a:gd name="T32" fmla="*/ 90 w 308"/>
                <a:gd name="T33" fmla="*/ 337 h 337"/>
                <a:gd name="T34" fmla="*/ 0 w 308"/>
                <a:gd name="T35" fmla="*/ 337 h 337"/>
                <a:gd name="T36" fmla="*/ 0 w 308"/>
                <a:gd name="T37" fmla="*/ 9 h 337"/>
                <a:gd name="T38" fmla="*/ 86 w 308"/>
                <a:gd name="T39" fmla="*/ 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37">
                  <a:moveTo>
                    <a:pt x="86" y="9"/>
                  </a:moveTo>
                  <a:cubicBezTo>
                    <a:pt x="86" y="55"/>
                    <a:pt x="86" y="55"/>
                    <a:pt x="86" y="55"/>
                  </a:cubicBezTo>
                  <a:cubicBezTo>
                    <a:pt x="88" y="55"/>
                    <a:pt x="88" y="55"/>
                    <a:pt x="88" y="55"/>
                  </a:cubicBezTo>
                  <a:cubicBezTo>
                    <a:pt x="99" y="36"/>
                    <a:pt x="114" y="22"/>
                    <a:pt x="132" y="13"/>
                  </a:cubicBezTo>
                  <a:cubicBezTo>
                    <a:pt x="151" y="4"/>
                    <a:pt x="169" y="0"/>
                    <a:pt x="188" y="0"/>
                  </a:cubicBezTo>
                  <a:cubicBezTo>
                    <a:pt x="212" y="0"/>
                    <a:pt x="232" y="3"/>
                    <a:pt x="248" y="10"/>
                  </a:cubicBezTo>
                  <a:cubicBezTo>
                    <a:pt x="263" y="17"/>
                    <a:pt x="275" y="26"/>
                    <a:pt x="284" y="37"/>
                  </a:cubicBezTo>
                  <a:cubicBezTo>
                    <a:pt x="293" y="49"/>
                    <a:pt x="299" y="63"/>
                    <a:pt x="303" y="80"/>
                  </a:cubicBezTo>
                  <a:cubicBezTo>
                    <a:pt x="306" y="97"/>
                    <a:pt x="308" y="115"/>
                    <a:pt x="308" y="135"/>
                  </a:cubicBezTo>
                  <a:cubicBezTo>
                    <a:pt x="308" y="337"/>
                    <a:pt x="308" y="337"/>
                    <a:pt x="308" y="337"/>
                  </a:cubicBezTo>
                  <a:cubicBezTo>
                    <a:pt x="218" y="337"/>
                    <a:pt x="218" y="337"/>
                    <a:pt x="218" y="337"/>
                  </a:cubicBezTo>
                  <a:cubicBezTo>
                    <a:pt x="218" y="152"/>
                    <a:pt x="218" y="152"/>
                    <a:pt x="218" y="152"/>
                  </a:cubicBezTo>
                  <a:cubicBezTo>
                    <a:pt x="218" y="125"/>
                    <a:pt x="214" y="105"/>
                    <a:pt x="205" y="91"/>
                  </a:cubicBezTo>
                  <a:cubicBezTo>
                    <a:pt x="197" y="78"/>
                    <a:pt x="182" y="71"/>
                    <a:pt x="160" y="71"/>
                  </a:cubicBezTo>
                  <a:cubicBezTo>
                    <a:pt x="136" y="71"/>
                    <a:pt x="118" y="79"/>
                    <a:pt x="107" y="93"/>
                  </a:cubicBezTo>
                  <a:cubicBezTo>
                    <a:pt x="96" y="108"/>
                    <a:pt x="90" y="132"/>
                    <a:pt x="90" y="165"/>
                  </a:cubicBezTo>
                  <a:cubicBezTo>
                    <a:pt x="90" y="337"/>
                    <a:pt x="90" y="337"/>
                    <a:pt x="90" y="337"/>
                  </a:cubicBezTo>
                  <a:cubicBezTo>
                    <a:pt x="0" y="337"/>
                    <a:pt x="0" y="337"/>
                    <a:pt x="0" y="337"/>
                  </a:cubicBezTo>
                  <a:cubicBezTo>
                    <a:pt x="0" y="9"/>
                    <a:pt x="0" y="9"/>
                    <a:pt x="0" y="9"/>
                  </a:cubicBezTo>
                  <a:lnTo>
                    <a:pt x="86" y="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1" name="Freeform 10">
              <a:extLst>
                <a:ext uri="{FF2B5EF4-FFF2-40B4-BE49-F238E27FC236}">
                  <a16:creationId xmlns:a16="http://schemas.microsoft.com/office/drawing/2014/main" id="{13824EBB-9A38-4CE9-99A1-2981DA41A39F}"/>
                </a:ext>
              </a:extLst>
            </p:cNvPr>
            <p:cNvSpPr>
              <a:spLocks noGrp="1" noRot="1" noMove="1" noResize="1" noEditPoints="1" noAdjustHandles="1" noChangeArrowheads="1" noChangeShapeType="1"/>
            </p:cNvSpPr>
            <p:nvPr/>
          </p:nvSpPr>
          <p:spPr bwMode="auto">
            <a:xfrm>
              <a:off x="2347913" y="4238625"/>
              <a:ext cx="222250" cy="236538"/>
            </a:xfrm>
            <a:custGeom>
              <a:avLst/>
              <a:gdLst>
                <a:gd name="T0" fmla="*/ 112 w 328"/>
                <a:gd name="T1" fmla="*/ 259 h 346"/>
                <a:gd name="T2" fmla="*/ 170 w 328"/>
                <a:gd name="T3" fmla="*/ 278 h 346"/>
                <a:gd name="T4" fmla="*/ 217 w 328"/>
                <a:gd name="T5" fmla="*/ 265 h 346"/>
                <a:gd name="T6" fmla="*/ 241 w 328"/>
                <a:gd name="T7" fmla="*/ 236 h 346"/>
                <a:gd name="T8" fmla="*/ 321 w 328"/>
                <a:gd name="T9" fmla="*/ 236 h 346"/>
                <a:gd name="T10" fmla="*/ 262 w 328"/>
                <a:gd name="T11" fmla="*/ 320 h 346"/>
                <a:gd name="T12" fmla="*/ 167 w 328"/>
                <a:gd name="T13" fmla="*/ 346 h 346"/>
                <a:gd name="T14" fmla="*/ 97 w 328"/>
                <a:gd name="T15" fmla="*/ 333 h 346"/>
                <a:gd name="T16" fmla="*/ 45 w 328"/>
                <a:gd name="T17" fmla="*/ 298 h 346"/>
                <a:gd name="T18" fmla="*/ 11 w 328"/>
                <a:gd name="T19" fmla="*/ 243 h 346"/>
                <a:gd name="T20" fmla="*/ 0 w 328"/>
                <a:gd name="T21" fmla="*/ 173 h 346"/>
                <a:gd name="T22" fmla="*/ 12 w 328"/>
                <a:gd name="T23" fmla="*/ 105 h 346"/>
                <a:gd name="T24" fmla="*/ 46 w 328"/>
                <a:gd name="T25" fmla="*/ 50 h 346"/>
                <a:gd name="T26" fmla="*/ 99 w 328"/>
                <a:gd name="T27" fmla="*/ 13 h 346"/>
                <a:gd name="T28" fmla="*/ 167 w 328"/>
                <a:gd name="T29" fmla="*/ 0 h 346"/>
                <a:gd name="T30" fmla="*/ 240 w 328"/>
                <a:gd name="T31" fmla="*/ 16 h 346"/>
                <a:gd name="T32" fmla="*/ 291 w 328"/>
                <a:gd name="T33" fmla="*/ 60 h 346"/>
                <a:gd name="T34" fmla="*/ 320 w 328"/>
                <a:gd name="T35" fmla="*/ 122 h 346"/>
                <a:gd name="T36" fmla="*/ 327 w 328"/>
                <a:gd name="T37" fmla="*/ 195 h 346"/>
                <a:gd name="T38" fmla="*/ 90 w 328"/>
                <a:gd name="T39" fmla="*/ 195 h 346"/>
                <a:gd name="T40" fmla="*/ 112 w 328"/>
                <a:gd name="T41" fmla="*/ 259 h 346"/>
                <a:gd name="T42" fmla="*/ 214 w 328"/>
                <a:gd name="T43" fmla="*/ 86 h 346"/>
                <a:gd name="T44" fmla="*/ 165 w 328"/>
                <a:gd name="T45" fmla="*/ 68 h 346"/>
                <a:gd name="T46" fmla="*/ 129 w 328"/>
                <a:gd name="T47" fmla="*/ 75 h 346"/>
                <a:gd name="T48" fmla="*/ 106 w 328"/>
                <a:gd name="T49" fmla="*/ 93 h 346"/>
                <a:gd name="T50" fmla="*/ 94 w 328"/>
                <a:gd name="T51" fmla="*/ 116 h 346"/>
                <a:gd name="T52" fmla="*/ 90 w 328"/>
                <a:gd name="T53" fmla="*/ 138 h 346"/>
                <a:gd name="T54" fmla="*/ 236 w 328"/>
                <a:gd name="T55" fmla="*/ 138 h 346"/>
                <a:gd name="T56" fmla="*/ 214 w 328"/>
                <a:gd name="T57" fmla="*/ 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8" h="346">
                  <a:moveTo>
                    <a:pt x="112" y="259"/>
                  </a:moveTo>
                  <a:cubicBezTo>
                    <a:pt x="126" y="272"/>
                    <a:pt x="145" y="278"/>
                    <a:pt x="170" y="278"/>
                  </a:cubicBezTo>
                  <a:cubicBezTo>
                    <a:pt x="189" y="278"/>
                    <a:pt x="204" y="274"/>
                    <a:pt x="217" y="265"/>
                  </a:cubicBezTo>
                  <a:cubicBezTo>
                    <a:pt x="230" y="255"/>
                    <a:pt x="239" y="246"/>
                    <a:pt x="241" y="236"/>
                  </a:cubicBezTo>
                  <a:cubicBezTo>
                    <a:pt x="321" y="236"/>
                    <a:pt x="321" y="236"/>
                    <a:pt x="321" y="236"/>
                  </a:cubicBezTo>
                  <a:cubicBezTo>
                    <a:pt x="308" y="275"/>
                    <a:pt x="289" y="303"/>
                    <a:pt x="262" y="320"/>
                  </a:cubicBezTo>
                  <a:cubicBezTo>
                    <a:pt x="236" y="337"/>
                    <a:pt x="204" y="346"/>
                    <a:pt x="167" y="346"/>
                  </a:cubicBezTo>
                  <a:cubicBezTo>
                    <a:pt x="141" y="346"/>
                    <a:pt x="118" y="341"/>
                    <a:pt x="97" y="333"/>
                  </a:cubicBezTo>
                  <a:cubicBezTo>
                    <a:pt x="77" y="325"/>
                    <a:pt x="59" y="313"/>
                    <a:pt x="45" y="298"/>
                  </a:cubicBezTo>
                  <a:cubicBezTo>
                    <a:pt x="30" y="283"/>
                    <a:pt x="19" y="264"/>
                    <a:pt x="11" y="243"/>
                  </a:cubicBezTo>
                  <a:cubicBezTo>
                    <a:pt x="3" y="222"/>
                    <a:pt x="0" y="199"/>
                    <a:pt x="0" y="173"/>
                  </a:cubicBezTo>
                  <a:cubicBezTo>
                    <a:pt x="0" y="149"/>
                    <a:pt x="4" y="126"/>
                    <a:pt x="12" y="105"/>
                  </a:cubicBezTo>
                  <a:cubicBezTo>
                    <a:pt x="20" y="84"/>
                    <a:pt x="31" y="65"/>
                    <a:pt x="46" y="50"/>
                  </a:cubicBezTo>
                  <a:cubicBezTo>
                    <a:pt x="61" y="35"/>
                    <a:pt x="78" y="22"/>
                    <a:pt x="99" y="13"/>
                  </a:cubicBezTo>
                  <a:cubicBezTo>
                    <a:pt x="119" y="5"/>
                    <a:pt x="142" y="0"/>
                    <a:pt x="167" y="0"/>
                  </a:cubicBezTo>
                  <a:cubicBezTo>
                    <a:pt x="195" y="0"/>
                    <a:pt x="219" y="6"/>
                    <a:pt x="240" y="16"/>
                  </a:cubicBezTo>
                  <a:cubicBezTo>
                    <a:pt x="261" y="27"/>
                    <a:pt x="278" y="42"/>
                    <a:pt x="291" y="60"/>
                  </a:cubicBezTo>
                  <a:cubicBezTo>
                    <a:pt x="305" y="78"/>
                    <a:pt x="314" y="99"/>
                    <a:pt x="320" y="122"/>
                  </a:cubicBezTo>
                  <a:cubicBezTo>
                    <a:pt x="326" y="145"/>
                    <a:pt x="328" y="170"/>
                    <a:pt x="327" y="195"/>
                  </a:cubicBezTo>
                  <a:cubicBezTo>
                    <a:pt x="90" y="195"/>
                    <a:pt x="90" y="195"/>
                    <a:pt x="90" y="195"/>
                  </a:cubicBezTo>
                  <a:cubicBezTo>
                    <a:pt x="91" y="224"/>
                    <a:pt x="98" y="245"/>
                    <a:pt x="112" y="259"/>
                  </a:cubicBezTo>
                  <a:close/>
                  <a:moveTo>
                    <a:pt x="214" y="86"/>
                  </a:moveTo>
                  <a:cubicBezTo>
                    <a:pt x="203" y="74"/>
                    <a:pt x="187" y="68"/>
                    <a:pt x="165" y="68"/>
                  </a:cubicBezTo>
                  <a:cubicBezTo>
                    <a:pt x="150" y="68"/>
                    <a:pt x="138" y="71"/>
                    <a:pt x="129" y="75"/>
                  </a:cubicBezTo>
                  <a:cubicBezTo>
                    <a:pt x="119" y="80"/>
                    <a:pt x="112" y="86"/>
                    <a:pt x="106" y="93"/>
                  </a:cubicBezTo>
                  <a:cubicBezTo>
                    <a:pt x="100" y="101"/>
                    <a:pt x="96" y="108"/>
                    <a:pt x="94" y="116"/>
                  </a:cubicBezTo>
                  <a:cubicBezTo>
                    <a:pt x="92" y="124"/>
                    <a:pt x="90" y="132"/>
                    <a:pt x="90" y="138"/>
                  </a:cubicBezTo>
                  <a:cubicBezTo>
                    <a:pt x="236" y="138"/>
                    <a:pt x="236" y="138"/>
                    <a:pt x="236" y="138"/>
                  </a:cubicBezTo>
                  <a:cubicBezTo>
                    <a:pt x="232" y="115"/>
                    <a:pt x="225" y="98"/>
                    <a:pt x="214" y="8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2" name="Freeform 11">
              <a:extLst>
                <a:ext uri="{FF2B5EF4-FFF2-40B4-BE49-F238E27FC236}">
                  <a16:creationId xmlns:a16="http://schemas.microsoft.com/office/drawing/2014/main" id="{E1FB89B6-10AC-42EB-B7F3-14C6F4A6879F}"/>
                </a:ext>
              </a:extLst>
            </p:cNvPr>
            <p:cNvSpPr>
              <a:spLocks noGrp="1" noRot="1" noMove="1" noResize="1" noEditPoints="1" noAdjustHandles="1" noChangeArrowheads="1" noChangeShapeType="1"/>
            </p:cNvSpPr>
            <p:nvPr/>
          </p:nvSpPr>
          <p:spPr bwMode="auto">
            <a:xfrm>
              <a:off x="2586038" y="4238625"/>
              <a:ext cx="206375" cy="236538"/>
            </a:xfrm>
            <a:custGeom>
              <a:avLst/>
              <a:gdLst>
                <a:gd name="T0" fmla="*/ 92 w 304"/>
                <a:gd name="T1" fmla="*/ 256 h 346"/>
                <a:gd name="T2" fmla="*/ 107 w 304"/>
                <a:gd name="T3" fmla="*/ 273 h 346"/>
                <a:gd name="T4" fmla="*/ 129 w 304"/>
                <a:gd name="T5" fmla="*/ 283 h 346"/>
                <a:gd name="T6" fmla="*/ 155 w 304"/>
                <a:gd name="T7" fmla="*/ 286 h 346"/>
                <a:gd name="T8" fmla="*/ 175 w 304"/>
                <a:gd name="T9" fmla="*/ 284 h 346"/>
                <a:gd name="T10" fmla="*/ 194 w 304"/>
                <a:gd name="T11" fmla="*/ 277 h 346"/>
                <a:gd name="T12" fmla="*/ 208 w 304"/>
                <a:gd name="T13" fmla="*/ 264 h 346"/>
                <a:gd name="T14" fmla="*/ 214 w 304"/>
                <a:gd name="T15" fmla="*/ 244 h 346"/>
                <a:gd name="T16" fmla="*/ 187 w 304"/>
                <a:gd name="T17" fmla="*/ 213 h 346"/>
                <a:gd name="T18" fmla="*/ 112 w 304"/>
                <a:gd name="T19" fmla="*/ 193 h 346"/>
                <a:gd name="T20" fmla="*/ 73 w 304"/>
                <a:gd name="T21" fmla="*/ 183 h 346"/>
                <a:gd name="T22" fmla="*/ 40 w 304"/>
                <a:gd name="T23" fmla="*/ 167 h 346"/>
                <a:gd name="T24" fmla="*/ 16 w 304"/>
                <a:gd name="T25" fmla="*/ 142 h 346"/>
                <a:gd name="T26" fmla="*/ 8 w 304"/>
                <a:gd name="T27" fmla="*/ 106 h 346"/>
                <a:gd name="T28" fmla="*/ 20 w 304"/>
                <a:gd name="T29" fmla="*/ 53 h 346"/>
                <a:gd name="T30" fmla="*/ 53 w 304"/>
                <a:gd name="T31" fmla="*/ 21 h 346"/>
                <a:gd name="T32" fmla="*/ 98 w 304"/>
                <a:gd name="T33" fmla="*/ 5 h 346"/>
                <a:gd name="T34" fmla="*/ 150 w 304"/>
                <a:gd name="T35" fmla="*/ 0 h 346"/>
                <a:gd name="T36" fmla="*/ 202 w 304"/>
                <a:gd name="T37" fmla="*/ 5 h 346"/>
                <a:gd name="T38" fmla="*/ 247 w 304"/>
                <a:gd name="T39" fmla="*/ 22 h 346"/>
                <a:gd name="T40" fmla="*/ 280 w 304"/>
                <a:gd name="T41" fmla="*/ 54 h 346"/>
                <a:gd name="T42" fmla="*/ 295 w 304"/>
                <a:gd name="T43" fmla="*/ 105 h 346"/>
                <a:gd name="T44" fmla="*/ 210 w 304"/>
                <a:gd name="T45" fmla="*/ 105 h 346"/>
                <a:gd name="T46" fmla="*/ 190 w 304"/>
                <a:gd name="T47" fmla="*/ 70 h 346"/>
                <a:gd name="T48" fmla="*/ 148 w 304"/>
                <a:gd name="T49" fmla="*/ 60 h 346"/>
                <a:gd name="T50" fmla="*/ 131 w 304"/>
                <a:gd name="T51" fmla="*/ 61 h 346"/>
                <a:gd name="T52" fmla="*/ 115 w 304"/>
                <a:gd name="T53" fmla="*/ 66 h 346"/>
                <a:gd name="T54" fmla="*/ 103 w 304"/>
                <a:gd name="T55" fmla="*/ 75 h 346"/>
                <a:gd name="T56" fmla="*/ 98 w 304"/>
                <a:gd name="T57" fmla="*/ 91 h 346"/>
                <a:gd name="T58" fmla="*/ 107 w 304"/>
                <a:gd name="T59" fmla="*/ 111 h 346"/>
                <a:gd name="T60" fmla="*/ 130 w 304"/>
                <a:gd name="T61" fmla="*/ 123 h 346"/>
                <a:gd name="T62" fmla="*/ 163 w 304"/>
                <a:gd name="T63" fmla="*/ 132 h 346"/>
                <a:gd name="T64" fmla="*/ 200 w 304"/>
                <a:gd name="T65" fmla="*/ 140 h 346"/>
                <a:gd name="T66" fmla="*/ 238 w 304"/>
                <a:gd name="T67" fmla="*/ 151 h 346"/>
                <a:gd name="T68" fmla="*/ 272 w 304"/>
                <a:gd name="T69" fmla="*/ 167 h 346"/>
                <a:gd name="T70" fmla="*/ 295 w 304"/>
                <a:gd name="T71" fmla="*/ 193 h 346"/>
                <a:gd name="T72" fmla="*/ 304 w 304"/>
                <a:gd name="T73" fmla="*/ 232 h 346"/>
                <a:gd name="T74" fmla="*/ 291 w 304"/>
                <a:gd name="T75" fmla="*/ 286 h 346"/>
                <a:gd name="T76" fmla="*/ 257 w 304"/>
                <a:gd name="T77" fmla="*/ 321 h 346"/>
                <a:gd name="T78" fmla="*/ 209 w 304"/>
                <a:gd name="T79" fmla="*/ 340 h 346"/>
                <a:gd name="T80" fmla="*/ 154 w 304"/>
                <a:gd name="T81" fmla="*/ 346 h 346"/>
                <a:gd name="T82" fmla="*/ 98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7" y="273"/>
                  </a:cubicBezTo>
                  <a:cubicBezTo>
                    <a:pt x="114" y="277"/>
                    <a:pt x="121" y="281"/>
                    <a:pt x="129" y="283"/>
                  </a:cubicBezTo>
                  <a:cubicBezTo>
                    <a:pt x="137" y="285"/>
                    <a:pt x="146" y="286"/>
                    <a:pt x="155" y="286"/>
                  </a:cubicBezTo>
                  <a:cubicBezTo>
                    <a:pt x="161" y="286"/>
                    <a:pt x="168" y="285"/>
                    <a:pt x="175" y="284"/>
                  </a:cubicBezTo>
                  <a:cubicBezTo>
                    <a:pt x="182" y="282"/>
                    <a:pt x="188" y="280"/>
                    <a:pt x="194" y="277"/>
                  </a:cubicBezTo>
                  <a:cubicBezTo>
                    <a:pt x="200" y="273"/>
                    <a:pt x="204" y="269"/>
                    <a:pt x="208" y="264"/>
                  </a:cubicBezTo>
                  <a:cubicBezTo>
                    <a:pt x="212" y="259"/>
                    <a:pt x="214" y="252"/>
                    <a:pt x="214" y="244"/>
                  </a:cubicBezTo>
                  <a:cubicBezTo>
                    <a:pt x="214" y="230"/>
                    <a:pt x="205" y="220"/>
                    <a:pt x="187" y="213"/>
                  </a:cubicBezTo>
                  <a:cubicBezTo>
                    <a:pt x="169" y="207"/>
                    <a:pt x="144" y="200"/>
                    <a:pt x="112" y="193"/>
                  </a:cubicBezTo>
                  <a:cubicBezTo>
                    <a:pt x="99" y="190"/>
                    <a:pt x="86" y="187"/>
                    <a:pt x="73" y="183"/>
                  </a:cubicBezTo>
                  <a:cubicBezTo>
                    <a:pt x="61" y="179"/>
                    <a:pt x="50" y="173"/>
                    <a:pt x="40" y="167"/>
                  </a:cubicBezTo>
                  <a:cubicBezTo>
                    <a:pt x="30" y="160"/>
                    <a:pt x="22" y="152"/>
                    <a:pt x="16" y="142"/>
                  </a:cubicBezTo>
                  <a:cubicBezTo>
                    <a:pt x="11" y="132"/>
                    <a:pt x="8" y="120"/>
                    <a:pt x="8" y="106"/>
                  </a:cubicBezTo>
                  <a:cubicBezTo>
                    <a:pt x="8" y="84"/>
                    <a:pt x="12" y="67"/>
                    <a:pt x="20" y="53"/>
                  </a:cubicBezTo>
                  <a:cubicBezTo>
                    <a:pt x="28" y="40"/>
                    <a:pt x="39" y="29"/>
                    <a:pt x="53" y="21"/>
                  </a:cubicBezTo>
                  <a:cubicBezTo>
                    <a:pt x="66" y="14"/>
                    <a:pt x="81" y="8"/>
                    <a:pt x="98" y="5"/>
                  </a:cubicBezTo>
                  <a:cubicBezTo>
                    <a:pt x="115" y="2"/>
                    <a:pt x="133" y="0"/>
                    <a:pt x="150" y="0"/>
                  </a:cubicBezTo>
                  <a:cubicBezTo>
                    <a:pt x="168" y="0"/>
                    <a:pt x="185" y="2"/>
                    <a:pt x="202" y="5"/>
                  </a:cubicBezTo>
                  <a:cubicBezTo>
                    <a:pt x="219" y="9"/>
                    <a:pt x="234" y="14"/>
                    <a:pt x="247" y="22"/>
                  </a:cubicBezTo>
                  <a:cubicBezTo>
                    <a:pt x="260" y="30"/>
                    <a:pt x="271" y="41"/>
                    <a:pt x="280" y="54"/>
                  </a:cubicBezTo>
                  <a:cubicBezTo>
                    <a:pt x="288" y="68"/>
                    <a:pt x="294" y="85"/>
                    <a:pt x="295" y="105"/>
                  </a:cubicBezTo>
                  <a:cubicBezTo>
                    <a:pt x="210" y="105"/>
                    <a:pt x="210" y="105"/>
                    <a:pt x="210" y="105"/>
                  </a:cubicBezTo>
                  <a:cubicBezTo>
                    <a:pt x="208" y="88"/>
                    <a:pt x="202" y="76"/>
                    <a:pt x="190" y="70"/>
                  </a:cubicBezTo>
                  <a:cubicBezTo>
                    <a:pt x="178" y="64"/>
                    <a:pt x="164" y="60"/>
                    <a:pt x="148" y="60"/>
                  </a:cubicBezTo>
                  <a:cubicBezTo>
                    <a:pt x="143" y="60"/>
                    <a:pt x="137" y="61"/>
                    <a:pt x="131" y="61"/>
                  </a:cubicBezTo>
                  <a:cubicBezTo>
                    <a:pt x="125" y="62"/>
                    <a:pt x="120" y="63"/>
                    <a:pt x="115" y="66"/>
                  </a:cubicBezTo>
                  <a:cubicBezTo>
                    <a:pt x="110" y="68"/>
                    <a:pt x="106" y="71"/>
                    <a:pt x="103" y="75"/>
                  </a:cubicBezTo>
                  <a:cubicBezTo>
                    <a:pt x="99" y="79"/>
                    <a:pt x="98" y="84"/>
                    <a:pt x="98" y="91"/>
                  </a:cubicBezTo>
                  <a:cubicBezTo>
                    <a:pt x="98" y="99"/>
                    <a:pt x="101" y="106"/>
                    <a:pt x="107" y="111"/>
                  </a:cubicBezTo>
                  <a:cubicBezTo>
                    <a:pt x="113" y="116"/>
                    <a:pt x="120" y="120"/>
                    <a:pt x="130" y="123"/>
                  </a:cubicBezTo>
                  <a:cubicBezTo>
                    <a:pt x="139" y="126"/>
                    <a:pt x="150" y="129"/>
                    <a:pt x="163" y="132"/>
                  </a:cubicBezTo>
                  <a:cubicBezTo>
                    <a:pt x="175" y="134"/>
                    <a:pt x="187" y="137"/>
                    <a:pt x="200" y="140"/>
                  </a:cubicBezTo>
                  <a:cubicBezTo>
                    <a:pt x="213" y="143"/>
                    <a:pt x="226" y="146"/>
                    <a:pt x="238" y="151"/>
                  </a:cubicBezTo>
                  <a:cubicBezTo>
                    <a:pt x="251" y="155"/>
                    <a:pt x="262" y="160"/>
                    <a:pt x="272" y="167"/>
                  </a:cubicBezTo>
                  <a:cubicBezTo>
                    <a:pt x="281" y="174"/>
                    <a:pt x="289" y="183"/>
                    <a:pt x="295" y="193"/>
                  </a:cubicBezTo>
                  <a:cubicBezTo>
                    <a:pt x="301" y="204"/>
                    <a:pt x="304" y="217"/>
                    <a:pt x="304" y="232"/>
                  </a:cubicBezTo>
                  <a:cubicBezTo>
                    <a:pt x="304" y="253"/>
                    <a:pt x="300" y="272"/>
                    <a:pt x="291" y="286"/>
                  </a:cubicBezTo>
                  <a:cubicBezTo>
                    <a:pt x="282" y="301"/>
                    <a:pt x="271" y="313"/>
                    <a:pt x="257" y="321"/>
                  </a:cubicBezTo>
                  <a:cubicBezTo>
                    <a:pt x="243" y="330"/>
                    <a:pt x="227" y="337"/>
                    <a:pt x="209" y="340"/>
                  </a:cubicBezTo>
                  <a:cubicBezTo>
                    <a:pt x="191" y="344"/>
                    <a:pt x="173" y="346"/>
                    <a:pt x="154" y="346"/>
                  </a:cubicBezTo>
                  <a:cubicBezTo>
                    <a:pt x="135" y="346"/>
                    <a:pt x="117" y="344"/>
                    <a:pt x="98"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3" name="Freeform 12">
              <a:extLst>
                <a:ext uri="{FF2B5EF4-FFF2-40B4-BE49-F238E27FC236}">
                  <a16:creationId xmlns:a16="http://schemas.microsoft.com/office/drawing/2014/main" id="{3E6B9B1D-1721-49CD-9807-AB8E27D7AA9B}"/>
                </a:ext>
              </a:extLst>
            </p:cNvPr>
            <p:cNvSpPr>
              <a:spLocks noGrp="1" noRot="1" noMove="1" noResize="1" noEditPoints="1" noAdjustHandles="1" noChangeArrowheads="1" noChangeShapeType="1"/>
            </p:cNvSpPr>
            <p:nvPr/>
          </p:nvSpPr>
          <p:spPr bwMode="auto">
            <a:xfrm>
              <a:off x="2811463" y="4238625"/>
              <a:ext cx="206375" cy="236538"/>
            </a:xfrm>
            <a:custGeom>
              <a:avLst/>
              <a:gdLst>
                <a:gd name="T0" fmla="*/ 92 w 304"/>
                <a:gd name="T1" fmla="*/ 256 h 346"/>
                <a:gd name="T2" fmla="*/ 107 w 304"/>
                <a:gd name="T3" fmla="*/ 273 h 346"/>
                <a:gd name="T4" fmla="*/ 129 w 304"/>
                <a:gd name="T5" fmla="*/ 283 h 346"/>
                <a:gd name="T6" fmla="*/ 155 w 304"/>
                <a:gd name="T7" fmla="*/ 286 h 346"/>
                <a:gd name="T8" fmla="*/ 175 w 304"/>
                <a:gd name="T9" fmla="*/ 284 h 346"/>
                <a:gd name="T10" fmla="*/ 194 w 304"/>
                <a:gd name="T11" fmla="*/ 277 h 346"/>
                <a:gd name="T12" fmla="*/ 208 w 304"/>
                <a:gd name="T13" fmla="*/ 264 h 346"/>
                <a:gd name="T14" fmla="*/ 214 w 304"/>
                <a:gd name="T15" fmla="*/ 244 h 346"/>
                <a:gd name="T16" fmla="*/ 187 w 304"/>
                <a:gd name="T17" fmla="*/ 213 h 346"/>
                <a:gd name="T18" fmla="*/ 112 w 304"/>
                <a:gd name="T19" fmla="*/ 193 h 346"/>
                <a:gd name="T20" fmla="*/ 73 w 304"/>
                <a:gd name="T21" fmla="*/ 183 h 346"/>
                <a:gd name="T22" fmla="*/ 40 w 304"/>
                <a:gd name="T23" fmla="*/ 167 h 346"/>
                <a:gd name="T24" fmla="*/ 16 w 304"/>
                <a:gd name="T25" fmla="*/ 142 h 346"/>
                <a:gd name="T26" fmla="*/ 8 w 304"/>
                <a:gd name="T27" fmla="*/ 106 h 346"/>
                <a:gd name="T28" fmla="*/ 20 w 304"/>
                <a:gd name="T29" fmla="*/ 53 h 346"/>
                <a:gd name="T30" fmla="*/ 53 w 304"/>
                <a:gd name="T31" fmla="*/ 21 h 346"/>
                <a:gd name="T32" fmla="*/ 98 w 304"/>
                <a:gd name="T33" fmla="*/ 5 h 346"/>
                <a:gd name="T34" fmla="*/ 150 w 304"/>
                <a:gd name="T35" fmla="*/ 0 h 346"/>
                <a:gd name="T36" fmla="*/ 202 w 304"/>
                <a:gd name="T37" fmla="*/ 5 h 346"/>
                <a:gd name="T38" fmla="*/ 247 w 304"/>
                <a:gd name="T39" fmla="*/ 22 h 346"/>
                <a:gd name="T40" fmla="*/ 280 w 304"/>
                <a:gd name="T41" fmla="*/ 54 h 346"/>
                <a:gd name="T42" fmla="*/ 295 w 304"/>
                <a:gd name="T43" fmla="*/ 105 h 346"/>
                <a:gd name="T44" fmla="*/ 209 w 304"/>
                <a:gd name="T45" fmla="*/ 105 h 346"/>
                <a:gd name="T46" fmla="*/ 190 w 304"/>
                <a:gd name="T47" fmla="*/ 70 h 346"/>
                <a:gd name="T48" fmla="*/ 148 w 304"/>
                <a:gd name="T49" fmla="*/ 60 h 346"/>
                <a:gd name="T50" fmla="*/ 131 w 304"/>
                <a:gd name="T51" fmla="*/ 61 h 346"/>
                <a:gd name="T52" fmla="*/ 115 w 304"/>
                <a:gd name="T53" fmla="*/ 66 h 346"/>
                <a:gd name="T54" fmla="*/ 103 w 304"/>
                <a:gd name="T55" fmla="*/ 75 h 346"/>
                <a:gd name="T56" fmla="*/ 98 w 304"/>
                <a:gd name="T57" fmla="*/ 91 h 346"/>
                <a:gd name="T58" fmla="*/ 107 w 304"/>
                <a:gd name="T59" fmla="*/ 111 h 346"/>
                <a:gd name="T60" fmla="*/ 130 w 304"/>
                <a:gd name="T61" fmla="*/ 123 h 346"/>
                <a:gd name="T62" fmla="*/ 162 w 304"/>
                <a:gd name="T63" fmla="*/ 132 h 346"/>
                <a:gd name="T64" fmla="*/ 200 w 304"/>
                <a:gd name="T65" fmla="*/ 140 h 346"/>
                <a:gd name="T66" fmla="*/ 238 w 304"/>
                <a:gd name="T67" fmla="*/ 151 h 346"/>
                <a:gd name="T68" fmla="*/ 272 w 304"/>
                <a:gd name="T69" fmla="*/ 167 h 346"/>
                <a:gd name="T70" fmla="*/ 295 w 304"/>
                <a:gd name="T71" fmla="*/ 193 h 346"/>
                <a:gd name="T72" fmla="*/ 304 w 304"/>
                <a:gd name="T73" fmla="*/ 232 h 346"/>
                <a:gd name="T74" fmla="*/ 291 w 304"/>
                <a:gd name="T75" fmla="*/ 286 h 346"/>
                <a:gd name="T76" fmla="*/ 257 w 304"/>
                <a:gd name="T77" fmla="*/ 321 h 346"/>
                <a:gd name="T78" fmla="*/ 209 w 304"/>
                <a:gd name="T79" fmla="*/ 340 h 346"/>
                <a:gd name="T80" fmla="*/ 154 w 304"/>
                <a:gd name="T81" fmla="*/ 346 h 346"/>
                <a:gd name="T82" fmla="*/ 98 w 304"/>
                <a:gd name="T83" fmla="*/ 340 h 346"/>
                <a:gd name="T84" fmla="*/ 50 w 304"/>
                <a:gd name="T85" fmla="*/ 321 h 346"/>
                <a:gd name="T86" fmla="*/ 15 w 304"/>
                <a:gd name="T87" fmla="*/ 286 h 346"/>
                <a:gd name="T88" fmla="*/ 0 w 304"/>
                <a:gd name="T89" fmla="*/ 231 h 346"/>
                <a:gd name="T90" fmla="*/ 86 w 304"/>
                <a:gd name="T91" fmla="*/ 231 h 346"/>
                <a:gd name="T92" fmla="*/ 92 w 304"/>
                <a:gd name="T93" fmla="*/ 25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4" h="346">
                  <a:moveTo>
                    <a:pt x="92" y="256"/>
                  </a:moveTo>
                  <a:cubicBezTo>
                    <a:pt x="96" y="263"/>
                    <a:pt x="101" y="268"/>
                    <a:pt x="107" y="273"/>
                  </a:cubicBezTo>
                  <a:cubicBezTo>
                    <a:pt x="114" y="277"/>
                    <a:pt x="121" y="281"/>
                    <a:pt x="129" y="283"/>
                  </a:cubicBezTo>
                  <a:cubicBezTo>
                    <a:pt x="137" y="285"/>
                    <a:pt x="146" y="286"/>
                    <a:pt x="155" y="286"/>
                  </a:cubicBezTo>
                  <a:cubicBezTo>
                    <a:pt x="161" y="286"/>
                    <a:pt x="168" y="285"/>
                    <a:pt x="175" y="284"/>
                  </a:cubicBezTo>
                  <a:cubicBezTo>
                    <a:pt x="182" y="282"/>
                    <a:pt x="188" y="280"/>
                    <a:pt x="194" y="277"/>
                  </a:cubicBezTo>
                  <a:cubicBezTo>
                    <a:pt x="200" y="273"/>
                    <a:pt x="204" y="269"/>
                    <a:pt x="208" y="264"/>
                  </a:cubicBezTo>
                  <a:cubicBezTo>
                    <a:pt x="212" y="259"/>
                    <a:pt x="214" y="252"/>
                    <a:pt x="214" y="244"/>
                  </a:cubicBezTo>
                  <a:cubicBezTo>
                    <a:pt x="214" y="230"/>
                    <a:pt x="205" y="220"/>
                    <a:pt x="187" y="213"/>
                  </a:cubicBezTo>
                  <a:cubicBezTo>
                    <a:pt x="169" y="207"/>
                    <a:pt x="144" y="200"/>
                    <a:pt x="112" y="193"/>
                  </a:cubicBezTo>
                  <a:cubicBezTo>
                    <a:pt x="99" y="190"/>
                    <a:pt x="86" y="187"/>
                    <a:pt x="73" y="183"/>
                  </a:cubicBezTo>
                  <a:cubicBezTo>
                    <a:pt x="61" y="179"/>
                    <a:pt x="50" y="173"/>
                    <a:pt x="40" y="167"/>
                  </a:cubicBezTo>
                  <a:cubicBezTo>
                    <a:pt x="30" y="160"/>
                    <a:pt x="22" y="152"/>
                    <a:pt x="16" y="142"/>
                  </a:cubicBezTo>
                  <a:cubicBezTo>
                    <a:pt x="11" y="132"/>
                    <a:pt x="8" y="120"/>
                    <a:pt x="8" y="106"/>
                  </a:cubicBezTo>
                  <a:cubicBezTo>
                    <a:pt x="8" y="84"/>
                    <a:pt x="12" y="67"/>
                    <a:pt x="20" y="53"/>
                  </a:cubicBezTo>
                  <a:cubicBezTo>
                    <a:pt x="28" y="40"/>
                    <a:pt x="39" y="29"/>
                    <a:pt x="53" y="21"/>
                  </a:cubicBezTo>
                  <a:cubicBezTo>
                    <a:pt x="66" y="14"/>
                    <a:pt x="81" y="8"/>
                    <a:pt x="98" y="5"/>
                  </a:cubicBezTo>
                  <a:cubicBezTo>
                    <a:pt x="115" y="2"/>
                    <a:pt x="133" y="0"/>
                    <a:pt x="150" y="0"/>
                  </a:cubicBezTo>
                  <a:cubicBezTo>
                    <a:pt x="168" y="0"/>
                    <a:pt x="185" y="2"/>
                    <a:pt x="202" y="5"/>
                  </a:cubicBezTo>
                  <a:cubicBezTo>
                    <a:pt x="219" y="9"/>
                    <a:pt x="234" y="14"/>
                    <a:pt x="247" y="22"/>
                  </a:cubicBezTo>
                  <a:cubicBezTo>
                    <a:pt x="260" y="30"/>
                    <a:pt x="271" y="41"/>
                    <a:pt x="280" y="54"/>
                  </a:cubicBezTo>
                  <a:cubicBezTo>
                    <a:pt x="288" y="68"/>
                    <a:pt x="294" y="85"/>
                    <a:pt x="295" y="105"/>
                  </a:cubicBezTo>
                  <a:cubicBezTo>
                    <a:pt x="209" y="105"/>
                    <a:pt x="209" y="105"/>
                    <a:pt x="209" y="105"/>
                  </a:cubicBezTo>
                  <a:cubicBezTo>
                    <a:pt x="208" y="88"/>
                    <a:pt x="202" y="76"/>
                    <a:pt x="190" y="70"/>
                  </a:cubicBezTo>
                  <a:cubicBezTo>
                    <a:pt x="178" y="64"/>
                    <a:pt x="164" y="60"/>
                    <a:pt x="148" y="60"/>
                  </a:cubicBezTo>
                  <a:cubicBezTo>
                    <a:pt x="143" y="60"/>
                    <a:pt x="137" y="61"/>
                    <a:pt x="131" y="61"/>
                  </a:cubicBezTo>
                  <a:cubicBezTo>
                    <a:pt x="125" y="62"/>
                    <a:pt x="120" y="63"/>
                    <a:pt x="115" y="66"/>
                  </a:cubicBezTo>
                  <a:cubicBezTo>
                    <a:pt x="110" y="68"/>
                    <a:pt x="106" y="71"/>
                    <a:pt x="103" y="75"/>
                  </a:cubicBezTo>
                  <a:cubicBezTo>
                    <a:pt x="99" y="79"/>
                    <a:pt x="98" y="84"/>
                    <a:pt x="98" y="91"/>
                  </a:cubicBezTo>
                  <a:cubicBezTo>
                    <a:pt x="98" y="99"/>
                    <a:pt x="101" y="106"/>
                    <a:pt x="107" y="111"/>
                  </a:cubicBezTo>
                  <a:cubicBezTo>
                    <a:pt x="113" y="116"/>
                    <a:pt x="120" y="120"/>
                    <a:pt x="130" y="123"/>
                  </a:cubicBezTo>
                  <a:cubicBezTo>
                    <a:pt x="139" y="126"/>
                    <a:pt x="150" y="129"/>
                    <a:pt x="162" y="132"/>
                  </a:cubicBezTo>
                  <a:cubicBezTo>
                    <a:pt x="175" y="134"/>
                    <a:pt x="187" y="137"/>
                    <a:pt x="200" y="140"/>
                  </a:cubicBezTo>
                  <a:cubicBezTo>
                    <a:pt x="213" y="143"/>
                    <a:pt x="226" y="146"/>
                    <a:pt x="238" y="151"/>
                  </a:cubicBezTo>
                  <a:cubicBezTo>
                    <a:pt x="251" y="155"/>
                    <a:pt x="262" y="160"/>
                    <a:pt x="272" y="167"/>
                  </a:cubicBezTo>
                  <a:cubicBezTo>
                    <a:pt x="281" y="174"/>
                    <a:pt x="289" y="183"/>
                    <a:pt x="295" y="193"/>
                  </a:cubicBezTo>
                  <a:cubicBezTo>
                    <a:pt x="301" y="204"/>
                    <a:pt x="304" y="217"/>
                    <a:pt x="304" y="232"/>
                  </a:cubicBezTo>
                  <a:cubicBezTo>
                    <a:pt x="304" y="253"/>
                    <a:pt x="300" y="272"/>
                    <a:pt x="291" y="286"/>
                  </a:cubicBezTo>
                  <a:cubicBezTo>
                    <a:pt x="282" y="301"/>
                    <a:pt x="271" y="313"/>
                    <a:pt x="257" y="321"/>
                  </a:cubicBezTo>
                  <a:cubicBezTo>
                    <a:pt x="243" y="330"/>
                    <a:pt x="227" y="337"/>
                    <a:pt x="209" y="340"/>
                  </a:cubicBezTo>
                  <a:cubicBezTo>
                    <a:pt x="191" y="344"/>
                    <a:pt x="173" y="346"/>
                    <a:pt x="154" y="346"/>
                  </a:cubicBezTo>
                  <a:cubicBezTo>
                    <a:pt x="135" y="346"/>
                    <a:pt x="117" y="344"/>
                    <a:pt x="98" y="340"/>
                  </a:cubicBezTo>
                  <a:cubicBezTo>
                    <a:pt x="80" y="336"/>
                    <a:pt x="64" y="330"/>
                    <a:pt x="50" y="321"/>
                  </a:cubicBezTo>
                  <a:cubicBezTo>
                    <a:pt x="36" y="312"/>
                    <a:pt x="24" y="300"/>
                    <a:pt x="15" y="286"/>
                  </a:cubicBezTo>
                  <a:cubicBezTo>
                    <a:pt x="6" y="271"/>
                    <a:pt x="1" y="253"/>
                    <a:pt x="0" y="231"/>
                  </a:cubicBezTo>
                  <a:cubicBezTo>
                    <a:pt x="86" y="231"/>
                    <a:pt x="86" y="231"/>
                    <a:pt x="86" y="231"/>
                  </a:cubicBezTo>
                  <a:cubicBezTo>
                    <a:pt x="86" y="240"/>
                    <a:pt x="88" y="249"/>
                    <a:pt x="92" y="2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34" name="Rectangle 13">
              <a:extLst>
                <a:ext uri="{FF2B5EF4-FFF2-40B4-BE49-F238E27FC236}">
                  <a16:creationId xmlns:a16="http://schemas.microsoft.com/office/drawing/2014/main" id="{3BF6698F-25C6-4D98-8BD0-8EE77A647FF2}"/>
                </a:ext>
              </a:extLst>
            </p:cNvPr>
            <p:cNvSpPr>
              <a:spLocks noGrp="1" noRot="1" noMove="1" noResize="1" noEditPoints="1" noAdjustHandles="1" noChangeArrowheads="1" noChangeShapeType="1"/>
            </p:cNvSpPr>
            <p:nvPr/>
          </p:nvSpPr>
          <p:spPr bwMode="auto">
            <a:xfrm>
              <a:off x="569913" y="4057650"/>
              <a:ext cx="514350" cy="514350"/>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5" name="Freeform 14">
              <a:extLst>
                <a:ext uri="{FF2B5EF4-FFF2-40B4-BE49-F238E27FC236}">
                  <a16:creationId xmlns:a16="http://schemas.microsoft.com/office/drawing/2014/main" id="{56E33B80-270E-429D-8746-588F411AF64A}"/>
                </a:ext>
              </a:extLst>
            </p:cNvPr>
            <p:cNvSpPr>
              <a:spLocks noGrp="1" noRot="1" noMove="1" noResize="1" noEditPoints="1" noAdjustHandles="1" noChangeArrowheads="1" noChangeShapeType="1"/>
            </p:cNvSpPr>
            <p:nvPr/>
          </p:nvSpPr>
          <p:spPr bwMode="auto">
            <a:xfrm>
              <a:off x="727076" y="4454525"/>
              <a:ext cx="63500" cy="74613"/>
            </a:xfrm>
            <a:custGeom>
              <a:avLst/>
              <a:gdLst>
                <a:gd name="T0" fmla="*/ 66 w 93"/>
                <a:gd name="T1" fmla="*/ 98 h 109"/>
                <a:gd name="T2" fmla="*/ 31 w 93"/>
                <a:gd name="T3" fmla="*/ 109 h 109"/>
                <a:gd name="T4" fmla="*/ 0 w 93"/>
                <a:gd name="T5" fmla="*/ 78 h 109"/>
                <a:gd name="T6" fmla="*/ 66 w 93"/>
                <a:gd name="T7" fmla="*/ 37 h 109"/>
                <a:gd name="T8" fmla="*/ 66 w 93"/>
                <a:gd name="T9" fmla="*/ 31 h 109"/>
                <a:gd name="T10" fmla="*/ 50 w 93"/>
                <a:gd name="T11" fmla="*/ 19 h 109"/>
                <a:gd name="T12" fmla="*/ 24 w 93"/>
                <a:gd name="T13" fmla="*/ 31 h 109"/>
                <a:gd name="T14" fmla="*/ 5 w 93"/>
                <a:gd name="T15" fmla="*/ 21 h 109"/>
                <a:gd name="T16" fmla="*/ 50 w 93"/>
                <a:gd name="T17" fmla="*/ 0 h 109"/>
                <a:gd name="T18" fmla="*/ 93 w 93"/>
                <a:gd name="T19" fmla="*/ 31 h 109"/>
                <a:gd name="T20" fmla="*/ 93 w 93"/>
                <a:gd name="T21" fmla="*/ 108 h 109"/>
                <a:gd name="T22" fmla="*/ 68 w 93"/>
                <a:gd name="T23" fmla="*/ 108 h 109"/>
                <a:gd name="T24" fmla="*/ 66 w 93"/>
                <a:gd name="T25" fmla="*/ 98 h 109"/>
                <a:gd name="T26" fmla="*/ 27 w 93"/>
                <a:gd name="T27" fmla="*/ 76 h 109"/>
                <a:gd name="T28" fmla="*/ 40 w 93"/>
                <a:gd name="T29" fmla="*/ 90 h 109"/>
                <a:gd name="T30" fmla="*/ 65 w 93"/>
                <a:gd name="T31" fmla="*/ 79 h 109"/>
                <a:gd name="T32" fmla="*/ 65 w 93"/>
                <a:gd name="T33" fmla="*/ 54 h 109"/>
                <a:gd name="T34" fmla="*/ 27 w 93"/>
                <a:gd name="T35" fmla="*/ 7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8"/>
                  </a:moveTo>
                  <a:cubicBezTo>
                    <a:pt x="55" y="105"/>
                    <a:pt x="44" y="109"/>
                    <a:pt x="31" y="109"/>
                  </a:cubicBezTo>
                  <a:cubicBezTo>
                    <a:pt x="11" y="109"/>
                    <a:pt x="0" y="96"/>
                    <a:pt x="0" y="78"/>
                  </a:cubicBezTo>
                  <a:cubicBezTo>
                    <a:pt x="0" y="55"/>
                    <a:pt x="21" y="42"/>
                    <a:pt x="66" y="37"/>
                  </a:cubicBezTo>
                  <a:cubicBezTo>
                    <a:pt x="66" y="31"/>
                    <a:pt x="66" y="31"/>
                    <a:pt x="66" y="31"/>
                  </a:cubicBezTo>
                  <a:cubicBezTo>
                    <a:pt x="66" y="24"/>
                    <a:pt x="60" y="19"/>
                    <a:pt x="50" y="19"/>
                  </a:cubicBezTo>
                  <a:cubicBezTo>
                    <a:pt x="39" y="19"/>
                    <a:pt x="30" y="24"/>
                    <a:pt x="24" y="31"/>
                  </a:cubicBezTo>
                  <a:cubicBezTo>
                    <a:pt x="5" y="21"/>
                    <a:pt x="5" y="21"/>
                    <a:pt x="5" y="21"/>
                  </a:cubicBezTo>
                  <a:cubicBezTo>
                    <a:pt x="15" y="7"/>
                    <a:pt x="30" y="0"/>
                    <a:pt x="50" y="0"/>
                  </a:cubicBezTo>
                  <a:cubicBezTo>
                    <a:pt x="77" y="0"/>
                    <a:pt x="93" y="12"/>
                    <a:pt x="93" y="31"/>
                  </a:cubicBezTo>
                  <a:cubicBezTo>
                    <a:pt x="93" y="31"/>
                    <a:pt x="93" y="107"/>
                    <a:pt x="93" y="108"/>
                  </a:cubicBezTo>
                  <a:cubicBezTo>
                    <a:pt x="68" y="108"/>
                    <a:pt x="68" y="108"/>
                    <a:pt x="68" y="108"/>
                  </a:cubicBezTo>
                  <a:lnTo>
                    <a:pt x="66" y="98"/>
                  </a:lnTo>
                  <a:close/>
                  <a:moveTo>
                    <a:pt x="27" y="76"/>
                  </a:moveTo>
                  <a:cubicBezTo>
                    <a:pt x="27" y="83"/>
                    <a:pt x="32" y="90"/>
                    <a:pt x="40" y="90"/>
                  </a:cubicBezTo>
                  <a:cubicBezTo>
                    <a:pt x="48" y="90"/>
                    <a:pt x="57" y="86"/>
                    <a:pt x="65" y="79"/>
                  </a:cubicBezTo>
                  <a:cubicBezTo>
                    <a:pt x="65" y="54"/>
                    <a:pt x="65" y="54"/>
                    <a:pt x="65" y="54"/>
                  </a:cubicBezTo>
                  <a:cubicBezTo>
                    <a:pt x="39" y="57"/>
                    <a:pt x="27" y="64"/>
                    <a:pt x="27"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 name="Freeform 15">
              <a:extLst>
                <a:ext uri="{FF2B5EF4-FFF2-40B4-BE49-F238E27FC236}">
                  <a16:creationId xmlns:a16="http://schemas.microsoft.com/office/drawing/2014/main" id="{8395EA3D-C719-4A3F-A131-4125CAAF790C}"/>
                </a:ext>
              </a:extLst>
            </p:cNvPr>
            <p:cNvSpPr>
              <a:spLocks noGrp="1" noRot="1" noMove="1" noResize="1" noEditPoints="1" noAdjustHandles="1" noChangeArrowheads="1" noChangeShapeType="1"/>
            </p:cNvSpPr>
            <p:nvPr/>
          </p:nvSpPr>
          <p:spPr bwMode="auto">
            <a:xfrm>
              <a:off x="806451" y="4454525"/>
              <a:ext cx="63500" cy="73025"/>
            </a:xfrm>
            <a:custGeom>
              <a:avLst/>
              <a:gdLst>
                <a:gd name="T0" fmla="*/ 0 w 94"/>
                <a:gd name="T1" fmla="*/ 5 h 107"/>
                <a:gd name="T2" fmla="*/ 23 w 94"/>
                <a:gd name="T3" fmla="*/ 2 h 107"/>
                <a:gd name="T4" fmla="*/ 25 w 94"/>
                <a:gd name="T5" fmla="*/ 14 h 107"/>
                <a:gd name="T6" fmla="*/ 61 w 94"/>
                <a:gd name="T7" fmla="*/ 0 h 107"/>
                <a:gd name="T8" fmla="*/ 94 w 94"/>
                <a:gd name="T9" fmla="*/ 34 h 107"/>
                <a:gd name="T10" fmla="*/ 94 w 94"/>
                <a:gd name="T11" fmla="*/ 107 h 107"/>
                <a:gd name="T12" fmla="*/ 66 w 94"/>
                <a:gd name="T13" fmla="*/ 107 h 107"/>
                <a:gd name="T14" fmla="*/ 66 w 94"/>
                <a:gd name="T15" fmla="*/ 39 h 107"/>
                <a:gd name="T16" fmla="*/ 53 w 94"/>
                <a:gd name="T17" fmla="*/ 20 h 107"/>
                <a:gd name="T18" fmla="*/ 27 w 94"/>
                <a:gd name="T19" fmla="*/ 32 h 107"/>
                <a:gd name="T20" fmla="*/ 27 w 94"/>
                <a:gd name="T21" fmla="*/ 107 h 107"/>
                <a:gd name="T22" fmla="*/ 0 w 94"/>
                <a:gd name="T23" fmla="*/ 107 h 107"/>
                <a:gd name="T24" fmla="*/ 0 w 94"/>
                <a:gd name="T25"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7">
                  <a:moveTo>
                    <a:pt x="0" y="5"/>
                  </a:moveTo>
                  <a:cubicBezTo>
                    <a:pt x="23" y="2"/>
                    <a:pt x="23" y="2"/>
                    <a:pt x="23" y="2"/>
                  </a:cubicBezTo>
                  <a:cubicBezTo>
                    <a:pt x="25" y="14"/>
                    <a:pt x="25" y="14"/>
                    <a:pt x="25" y="14"/>
                  </a:cubicBezTo>
                  <a:cubicBezTo>
                    <a:pt x="38" y="5"/>
                    <a:pt x="48" y="0"/>
                    <a:pt x="61" y="0"/>
                  </a:cubicBezTo>
                  <a:cubicBezTo>
                    <a:pt x="83" y="0"/>
                    <a:pt x="94" y="11"/>
                    <a:pt x="94" y="34"/>
                  </a:cubicBezTo>
                  <a:cubicBezTo>
                    <a:pt x="94" y="107"/>
                    <a:pt x="94" y="107"/>
                    <a:pt x="94" y="107"/>
                  </a:cubicBezTo>
                  <a:cubicBezTo>
                    <a:pt x="66" y="107"/>
                    <a:pt x="66" y="107"/>
                    <a:pt x="66" y="107"/>
                  </a:cubicBezTo>
                  <a:cubicBezTo>
                    <a:pt x="66" y="39"/>
                    <a:pt x="66" y="39"/>
                    <a:pt x="66" y="39"/>
                  </a:cubicBezTo>
                  <a:cubicBezTo>
                    <a:pt x="66" y="26"/>
                    <a:pt x="63" y="20"/>
                    <a:pt x="53" y="20"/>
                  </a:cubicBezTo>
                  <a:cubicBezTo>
                    <a:pt x="45" y="20"/>
                    <a:pt x="37" y="24"/>
                    <a:pt x="27" y="32"/>
                  </a:cubicBezTo>
                  <a:cubicBezTo>
                    <a:pt x="27" y="107"/>
                    <a:pt x="27" y="107"/>
                    <a:pt x="27" y="107"/>
                  </a:cubicBezTo>
                  <a:cubicBezTo>
                    <a:pt x="0" y="107"/>
                    <a:pt x="0" y="107"/>
                    <a:pt x="0" y="107"/>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7" name="Freeform 16">
              <a:extLst>
                <a:ext uri="{FF2B5EF4-FFF2-40B4-BE49-F238E27FC236}">
                  <a16:creationId xmlns:a16="http://schemas.microsoft.com/office/drawing/2014/main" id="{2F535571-531A-419E-B5CF-90E57D409260}"/>
                </a:ext>
              </a:extLst>
            </p:cNvPr>
            <p:cNvSpPr>
              <a:spLocks noGrp="1" noRot="1" noMove="1" noResize="1" noEditPoints="1" noAdjustHandles="1" noChangeArrowheads="1" noChangeShapeType="1"/>
            </p:cNvSpPr>
            <p:nvPr/>
          </p:nvSpPr>
          <p:spPr bwMode="auto">
            <a:xfrm>
              <a:off x="960438" y="4454525"/>
              <a:ext cx="66675" cy="74613"/>
            </a:xfrm>
            <a:custGeom>
              <a:avLst/>
              <a:gdLst>
                <a:gd name="T0" fmla="*/ 49 w 97"/>
                <a:gd name="T1" fmla="*/ 109 h 109"/>
                <a:gd name="T2" fmla="*/ 0 w 97"/>
                <a:gd name="T3" fmla="*/ 55 h 109"/>
                <a:gd name="T4" fmla="*/ 49 w 97"/>
                <a:gd name="T5" fmla="*/ 0 h 109"/>
                <a:gd name="T6" fmla="*/ 97 w 97"/>
                <a:gd name="T7" fmla="*/ 54 h 109"/>
                <a:gd name="T8" fmla="*/ 97 w 97"/>
                <a:gd name="T9" fmla="*/ 59 h 109"/>
                <a:gd name="T10" fmla="*/ 27 w 97"/>
                <a:gd name="T11" fmla="*/ 59 h 109"/>
                <a:gd name="T12" fmla="*/ 52 w 97"/>
                <a:gd name="T13" fmla="*/ 89 h 109"/>
                <a:gd name="T14" fmla="*/ 76 w 97"/>
                <a:gd name="T15" fmla="*/ 75 h 109"/>
                <a:gd name="T16" fmla="*/ 96 w 97"/>
                <a:gd name="T17" fmla="*/ 87 h 109"/>
                <a:gd name="T18" fmla="*/ 49 w 97"/>
                <a:gd name="T19" fmla="*/ 109 h 109"/>
                <a:gd name="T20" fmla="*/ 70 w 97"/>
                <a:gd name="T21" fmla="*/ 41 h 109"/>
                <a:gd name="T22" fmla="*/ 49 w 97"/>
                <a:gd name="T23" fmla="*/ 19 h 109"/>
                <a:gd name="T24" fmla="*/ 28 w 97"/>
                <a:gd name="T25" fmla="*/ 41 h 109"/>
                <a:gd name="T26" fmla="*/ 70 w 97"/>
                <a:gd name="T27" fmla="*/ 4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09">
                  <a:moveTo>
                    <a:pt x="49" y="109"/>
                  </a:moveTo>
                  <a:cubicBezTo>
                    <a:pt x="18" y="109"/>
                    <a:pt x="0" y="90"/>
                    <a:pt x="0" y="55"/>
                  </a:cubicBezTo>
                  <a:cubicBezTo>
                    <a:pt x="0" y="20"/>
                    <a:pt x="19" y="0"/>
                    <a:pt x="49" y="0"/>
                  </a:cubicBezTo>
                  <a:cubicBezTo>
                    <a:pt x="79" y="0"/>
                    <a:pt x="97" y="19"/>
                    <a:pt x="97" y="54"/>
                  </a:cubicBezTo>
                  <a:cubicBezTo>
                    <a:pt x="97" y="55"/>
                    <a:pt x="97" y="57"/>
                    <a:pt x="97" y="59"/>
                  </a:cubicBezTo>
                  <a:cubicBezTo>
                    <a:pt x="27" y="59"/>
                    <a:pt x="27" y="59"/>
                    <a:pt x="27" y="59"/>
                  </a:cubicBezTo>
                  <a:cubicBezTo>
                    <a:pt x="27" y="79"/>
                    <a:pt x="36" y="89"/>
                    <a:pt x="52" y="89"/>
                  </a:cubicBezTo>
                  <a:cubicBezTo>
                    <a:pt x="62" y="89"/>
                    <a:pt x="69" y="85"/>
                    <a:pt x="76" y="75"/>
                  </a:cubicBezTo>
                  <a:cubicBezTo>
                    <a:pt x="96" y="87"/>
                    <a:pt x="96" y="87"/>
                    <a:pt x="96" y="87"/>
                  </a:cubicBezTo>
                  <a:cubicBezTo>
                    <a:pt x="87" y="102"/>
                    <a:pt x="71" y="109"/>
                    <a:pt x="49" y="109"/>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8" name="Freeform 17">
              <a:extLst>
                <a:ext uri="{FF2B5EF4-FFF2-40B4-BE49-F238E27FC236}">
                  <a16:creationId xmlns:a16="http://schemas.microsoft.com/office/drawing/2014/main" id="{ABAC7ED4-1A0E-41AD-ADE8-8AC89F3CA83B}"/>
                </a:ext>
              </a:extLst>
            </p:cNvPr>
            <p:cNvSpPr>
              <a:spLocks noGrp="1" noRot="1" noMove="1" noResize="1" noEditPoints="1" noAdjustHandles="1" noChangeArrowheads="1" noChangeShapeType="1"/>
            </p:cNvSpPr>
            <p:nvPr/>
          </p:nvSpPr>
          <p:spPr bwMode="auto">
            <a:xfrm>
              <a:off x="598488" y="4454525"/>
              <a:ext cx="69850" cy="762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80" y="0"/>
                    <a:pt x="104" y="17"/>
                    <a:pt x="104" y="55"/>
                  </a:cubicBezTo>
                  <a:cubicBezTo>
                    <a:pt x="104" y="93"/>
                    <a:pt x="80" y="111"/>
                    <a:pt x="52" y="111"/>
                  </a:cubicBezTo>
                  <a:close/>
                  <a:moveTo>
                    <a:pt x="52" y="23"/>
                  </a:moveTo>
                  <a:cubicBezTo>
                    <a:pt x="32" y="23"/>
                    <a:pt x="28" y="42"/>
                    <a:pt x="28" y="55"/>
                  </a:cubicBezTo>
                  <a:cubicBezTo>
                    <a:pt x="28" y="69"/>
                    <a:pt x="32"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9" name="Freeform 18">
              <a:extLst>
                <a:ext uri="{FF2B5EF4-FFF2-40B4-BE49-F238E27FC236}">
                  <a16:creationId xmlns:a16="http://schemas.microsoft.com/office/drawing/2014/main" id="{8B414238-7310-458E-9C15-9BD135B12B57}"/>
                </a:ext>
              </a:extLst>
            </p:cNvPr>
            <p:cNvSpPr>
              <a:spLocks noGrp="1" noRot="1" noMove="1" noResize="1" noEditPoints="1" noAdjustHandles="1" noChangeArrowheads="1" noChangeShapeType="1"/>
            </p:cNvSpPr>
            <p:nvPr/>
          </p:nvSpPr>
          <p:spPr bwMode="auto">
            <a:xfrm>
              <a:off x="681038" y="4454525"/>
              <a:ext cx="41275" cy="74613"/>
            </a:xfrm>
            <a:custGeom>
              <a:avLst/>
              <a:gdLst>
                <a:gd name="T0" fmla="*/ 0 w 59"/>
                <a:gd name="T1" fmla="*/ 2 h 108"/>
                <a:gd name="T2" fmla="*/ 27 w 59"/>
                <a:gd name="T3" fmla="*/ 2 h 108"/>
                <a:gd name="T4" fmla="*/ 27 w 59"/>
                <a:gd name="T5" fmla="*/ 15 h 108"/>
                <a:gd name="T6" fmla="*/ 56 w 59"/>
                <a:gd name="T7" fmla="*/ 0 h 108"/>
                <a:gd name="T8" fmla="*/ 59 w 59"/>
                <a:gd name="T9" fmla="*/ 0 h 108"/>
                <a:gd name="T10" fmla="*/ 59 w 59"/>
                <a:gd name="T11" fmla="*/ 26 h 108"/>
                <a:gd name="T12" fmla="*/ 58 w 59"/>
                <a:gd name="T13" fmla="*/ 26 h 108"/>
                <a:gd name="T14" fmla="*/ 29 w 59"/>
                <a:gd name="T15" fmla="*/ 38 h 108"/>
                <a:gd name="T16" fmla="*/ 29 w 59"/>
                <a:gd name="T17" fmla="*/ 108 h 108"/>
                <a:gd name="T18" fmla="*/ 0 w 59"/>
                <a:gd name="T19" fmla="*/ 108 h 108"/>
                <a:gd name="T20" fmla="*/ 0 w 59"/>
                <a:gd name="T21"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2"/>
                  </a:moveTo>
                  <a:cubicBezTo>
                    <a:pt x="27" y="2"/>
                    <a:pt x="27" y="2"/>
                    <a:pt x="27" y="2"/>
                  </a:cubicBezTo>
                  <a:cubicBezTo>
                    <a:pt x="27" y="15"/>
                    <a:pt x="27" y="15"/>
                    <a:pt x="27" y="15"/>
                  </a:cubicBezTo>
                  <a:cubicBezTo>
                    <a:pt x="32" y="8"/>
                    <a:pt x="44" y="0"/>
                    <a:pt x="56" y="0"/>
                  </a:cubicBezTo>
                  <a:cubicBezTo>
                    <a:pt x="57" y="0"/>
                    <a:pt x="58" y="0"/>
                    <a:pt x="59" y="0"/>
                  </a:cubicBezTo>
                  <a:cubicBezTo>
                    <a:pt x="59" y="26"/>
                    <a:pt x="59" y="26"/>
                    <a:pt x="59" y="26"/>
                  </a:cubicBezTo>
                  <a:cubicBezTo>
                    <a:pt x="59" y="26"/>
                    <a:pt x="58" y="26"/>
                    <a:pt x="58" y="26"/>
                  </a:cubicBezTo>
                  <a:cubicBezTo>
                    <a:pt x="46" y="26"/>
                    <a:pt x="33" y="28"/>
                    <a:pt x="29" y="38"/>
                  </a:cubicBezTo>
                  <a:cubicBezTo>
                    <a:pt x="29" y="108"/>
                    <a:pt x="29" y="108"/>
                    <a:pt x="29" y="108"/>
                  </a:cubicBezTo>
                  <a:cubicBezTo>
                    <a:pt x="0" y="108"/>
                    <a:pt x="0" y="108"/>
                    <a:pt x="0" y="108"/>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0" name="Freeform 19">
              <a:extLst>
                <a:ext uri="{FF2B5EF4-FFF2-40B4-BE49-F238E27FC236}">
                  <a16:creationId xmlns:a16="http://schemas.microsoft.com/office/drawing/2014/main" id="{B156E558-F03B-4BE9-A819-A10409A46BCC}"/>
                </a:ext>
              </a:extLst>
            </p:cNvPr>
            <p:cNvSpPr>
              <a:spLocks noGrp="1" noRot="1" noMove="1" noResize="1" noEditPoints="1" noAdjustHandles="1" noChangeArrowheads="1" noChangeShapeType="1"/>
            </p:cNvSpPr>
            <p:nvPr/>
          </p:nvSpPr>
          <p:spPr bwMode="auto">
            <a:xfrm>
              <a:off x="882651" y="4454525"/>
              <a:ext cx="66675" cy="101600"/>
            </a:xfrm>
            <a:custGeom>
              <a:avLst/>
              <a:gdLst>
                <a:gd name="T0" fmla="*/ 49 w 98"/>
                <a:gd name="T1" fmla="*/ 85 h 149"/>
                <a:gd name="T2" fmla="*/ 72 w 98"/>
                <a:gd name="T3" fmla="*/ 49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8 h 149"/>
                <a:gd name="T16" fmla="*/ 3 w 98"/>
                <a:gd name="T17" fmla="*/ 122 h 149"/>
                <a:gd name="T18" fmla="*/ 30 w 98"/>
                <a:gd name="T19" fmla="*/ 118 h 149"/>
                <a:gd name="T20" fmla="*/ 50 w 98"/>
                <a:gd name="T21" fmla="*/ 128 h 149"/>
                <a:gd name="T22" fmla="*/ 71 w 98"/>
                <a:gd name="T23" fmla="*/ 105 h 149"/>
                <a:gd name="T24" fmla="*/ 71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3"/>
                    <a:pt x="72" y="49"/>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8"/>
                  </a:cubicBezTo>
                  <a:cubicBezTo>
                    <a:pt x="26" y="149"/>
                    <a:pt x="7" y="140"/>
                    <a:pt x="3" y="122"/>
                  </a:cubicBezTo>
                  <a:cubicBezTo>
                    <a:pt x="30" y="118"/>
                    <a:pt x="30" y="118"/>
                    <a:pt x="30" y="118"/>
                  </a:cubicBezTo>
                  <a:cubicBezTo>
                    <a:pt x="32" y="123"/>
                    <a:pt x="35" y="128"/>
                    <a:pt x="50" y="128"/>
                  </a:cubicBezTo>
                  <a:cubicBezTo>
                    <a:pt x="65" y="128"/>
                    <a:pt x="71" y="121"/>
                    <a:pt x="71" y="105"/>
                  </a:cubicBezTo>
                  <a:cubicBezTo>
                    <a:pt x="71" y="93"/>
                    <a:pt x="71" y="93"/>
                    <a:pt x="71"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1" name="Freeform 20">
              <a:extLst>
                <a:ext uri="{FF2B5EF4-FFF2-40B4-BE49-F238E27FC236}">
                  <a16:creationId xmlns:a16="http://schemas.microsoft.com/office/drawing/2014/main" id="{8AD2F3D5-B988-4CEC-91D2-17A637185159}"/>
                </a:ext>
              </a:extLst>
            </p:cNvPr>
            <p:cNvSpPr>
              <a:spLocks noGrp="1" noRot="1" noMove="1" noResize="1" noEditPoints="1" noAdjustHandles="1" noChangeArrowheads="1" noChangeShapeType="1"/>
            </p:cNvSpPr>
            <p:nvPr/>
          </p:nvSpPr>
          <p:spPr bwMode="auto">
            <a:xfrm>
              <a:off x="1016001" y="4429125"/>
              <a:ext cx="49213" cy="23813"/>
            </a:xfrm>
            <a:custGeom>
              <a:avLst/>
              <a:gdLst>
                <a:gd name="T0" fmla="*/ 12 w 31"/>
                <a:gd name="T1" fmla="*/ 2 h 15"/>
                <a:gd name="T2" fmla="*/ 7 w 31"/>
                <a:gd name="T3" fmla="*/ 2 h 15"/>
                <a:gd name="T4" fmla="*/ 7 w 31"/>
                <a:gd name="T5" fmla="*/ 15 h 15"/>
                <a:gd name="T6" fmla="*/ 5 w 31"/>
                <a:gd name="T7" fmla="*/ 15 h 15"/>
                <a:gd name="T8" fmla="*/ 5 w 31"/>
                <a:gd name="T9" fmla="*/ 2 h 15"/>
                <a:gd name="T10" fmla="*/ 0 w 31"/>
                <a:gd name="T11" fmla="*/ 2 h 15"/>
                <a:gd name="T12" fmla="*/ 0 w 31"/>
                <a:gd name="T13" fmla="*/ 0 h 15"/>
                <a:gd name="T14" fmla="*/ 12 w 31"/>
                <a:gd name="T15" fmla="*/ 0 h 15"/>
                <a:gd name="T16" fmla="*/ 12 w 31"/>
                <a:gd name="T17" fmla="*/ 2 h 15"/>
                <a:gd name="T18" fmla="*/ 31 w 31"/>
                <a:gd name="T19" fmla="*/ 15 h 15"/>
                <a:gd name="T20" fmla="*/ 29 w 31"/>
                <a:gd name="T21" fmla="*/ 15 h 15"/>
                <a:gd name="T22" fmla="*/ 29 w 31"/>
                <a:gd name="T23" fmla="*/ 3 h 15"/>
                <a:gd name="T24" fmla="*/ 29 w 31"/>
                <a:gd name="T25" fmla="*/ 3 h 15"/>
                <a:gd name="T26" fmla="*/ 24 w 31"/>
                <a:gd name="T27" fmla="*/ 15 h 15"/>
                <a:gd name="T28" fmla="*/ 22 w 31"/>
                <a:gd name="T29" fmla="*/ 15 h 15"/>
                <a:gd name="T30" fmla="*/ 17 w 31"/>
                <a:gd name="T31" fmla="*/ 3 h 15"/>
                <a:gd name="T32" fmla="*/ 17 w 31"/>
                <a:gd name="T33" fmla="*/ 3 h 15"/>
                <a:gd name="T34" fmla="*/ 17 w 31"/>
                <a:gd name="T35" fmla="*/ 15 h 15"/>
                <a:gd name="T36" fmla="*/ 15 w 31"/>
                <a:gd name="T37" fmla="*/ 15 h 15"/>
                <a:gd name="T38" fmla="*/ 15 w 31"/>
                <a:gd name="T39" fmla="*/ 0 h 15"/>
                <a:gd name="T40" fmla="*/ 19 w 31"/>
                <a:gd name="T41" fmla="*/ 0 h 15"/>
                <a:gd name="T42" fmla="*/ 23 w 31"/>
                <a:gd name="T43" fmla="*/ 12 h 15"/>
                <a:gd name="T44" fmla="*/ 28 w 31"/>
                <a:gd name="T45" fmla="*/ 0 h 15"/>
                <a:gd name="T46" fmla="*/ 31 w 31"/>
                <a:gd name="T47" fmla="*/ 0 h 15"/>
                <a:gd name="T48" fmla="*/ 31 w 31"/>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15">
                  <a:moveTo>
                    <a:pt x="12" y="2"/>
                  </a:moveTo>
                  <a:lnTo>
                    <a:pt x="7" y="2"/>
                  </a:lnTo>
                  <a:lnTo>
                    <a:pt x="7" y="15"/>
                  </a:lnTo>
                  <a:lnTo>
                    <a:pt x="5" y="15"/>
                  </a:lnTo>
                  <a:lnTo>
                    <a:pt x="5" y="2"/>
                  </a:lnTo>
                  <a:lnTo>
                    <a:pt x="0" y="2"/>
                  </a:lnTo>
                  <a:lnTo>
                    <a:pt x="0" y="0"/>
                  </a:lnTo>
                  <a:lnTo>
                    <a:pt x="12" y="0"/>
                  </a:lnTo>
                  <a:lnTo>
                    <a:pt x="12" y="2"/>
                  </a:lnTo>
                  <a:close/>
                  <a:moveTo>
                    <a:pt x="31" y="15"/>
                  </a:moveTo>
                  <a:lnTo>
                    <a:pt x="29" y="15"/>
                  </a:lnTo>
                  <a:lnTo>
                    <a:pt x="29" y="3"/>
                  </a:lnTo>
                  <a:lnTo>
                    <a:pt x="29" y="3"/>
                  </a:lnTo>
                  <a:lnTo>
                    <a:pt x="24" y="15"/>
                  </a:lnTo>
                  <a:lnTo>
                    <a:pt x="22" y="15"/>
                  </a:lnTo>
                  <a:lnTo>
                    <a:pt x="17" y="3"/>
                  </a:lnTo>
                  <a:lnTo>
                    <a:pt x="17" y="3"/>
                  </a:lnTo>
                  <a:lnTo>
                    <a:pt x="17" y="15"/>
                  </a:lnTo>
                  <a:lnTo>
                    <a:pt x="15" y="15"/>
                  </a:lnTo>
                  <a:lnTo>
                    <a:pt x="15" y="0"/>
                  </a:lnTo>
                  <a:lnTo>
                    <a:pt x="19" y="0"/>
                  </a:lnTo>
                  <a:lnTo>
                    <a:pt x="23" y="12"/>
                  </a:lnTo>
                  <a:lnTo>
                    <a:pt x="28" y="0"/>
                  </a:lnTo>
                  <a:lnTo>
                    <a:pt x="31" y="0"/>
                  </a:lnTo>
                  <a:lnTo>
                    <a:pt x="3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17" name="Text Placeholder"/>
          <p:cNvSpPr>
            <a:spLocks noGrp="1"/>
          </p:cNvSpPr>
          <p:nvPr>
            <p:ph type="body" sz="quarter" idx="16" hasCustomPrompt="1"/>
          </p:nvPr>
        </p:nvSpPr>
        <p:spPr>
          <a:xfrm>
            <a:off x="759885" y="3814234"/>
            <a:ext cx="4193116" cy="753532"/>
          </a:xfrm>
        </p:spPr>
        <p:txBody>
          <a:bodyPr/>
          <a:lstStyle>
            <a:lvl1pPr>
              <a:defRPr/>
            </a:lvl1pPr>
          </a:lstStyle>
          <a:p>
            <a:pPr lvl="0"/>
            <a:r>
              <a:rPr lang="en-US"/>
              <a:t>Edit text</a:t>
            </a:r>
          </a:p>
          <a:p>
            <a:pPr lvl="1"/>
            <a:r>
              <a:rPr lang="en-US"/>
              <a:t>Second level</a:t>
            </a:r>
          </a:p>
        </p:txBody>
      </p:sp>
      <p:sp>
        <p:nvSpPr>
          <p:cNvPr id="2" name="Text Placeholder"/>
          <p:cNvSpPr>
            <a:spLocks noGrp="1"/>
          </p:cNvSpPr>
          <p:nvPr>
            <p:ph type="ctrTitle" hasCustomPrompt="1"/>
          </p:nvPr>
        </p:nvSpPr>
        <p:spPr>
          <a:xfrm>
            <a:off x="759885" y="762001"/>
            <a:ext cx="4193116" cy="2669116"/>
          </a:xfrm>
        </p:spPr>
        <p:txBody>
          <a:bodyPr>
            <a:noAutofit/>
          </a:bodyPr>
          <a:lstStyle>
            <a:lvl1pPr algn="l">
              <a:lnSpc>
                <a:spcPct val="85000"/>
              </a:lnSpc>
              <a:defRPr sz="6000" baseline="0">
                <a:solidFill>
                  <a:schemeClr val="accent1"/>
                </a:solidFill>
              </a:defRPr>
            </a:lvl1pPr>
          </a:lstStyle>
          <a:p>
            <a:r>
              <a:rPr lang="en-US"/>
              <a:t>Edit title</a:t>
            </a:r>
            <a:endParaRPr lang="en-GB"/>
          </a:p>
        </p:txBody>
      </p:sp>
    </p:spTree>
    <p:extLst>
      <p:ext uri="{BB962C8B-B14F-4D97-AF65-F5344CB8AC3E}">
        <p14:creationId xmlns:p14="http://schemas.microsoft.com/office/powerpoint/2010/main" val="111441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Content Placeholder"/>
          <p:cNvSpPr>
            <a:spLocks noGrp="1"/>
          </p:cNvSpPr>
          <p:nvPr>
            <p:ph idx="1" hasCustomPrompt="1"/>
          </p:nvPr>
        </p:nvSpPr>
        <p:spPr>
          <a:xfrm>
            <a:off x="759885" y="1907118"/>
            <a:ext cx="10668001" cy="4184647"/>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Text Placeholder"/>
          <p:cNvSpPr>
            <a:spLocks noGrp="1"/>
          </p:cNvSpPr>
          <p:nvPr>
            <p:ph type="title" hasCustomPrompt="1"/>
          </p:nvPr>
        </p:nvSpPr>
        <p:spPr>
          <a:xfrm>
            <a:off x="759885" y="762001"/>
            <a:ext cx="10668001" cy="759884"/>
          </a:xfrm>
        </p:spPr>
        <p:txBody>
          <a:bodyPr/>
          <a:lstStyle>
            <a:lvl1pPr>
              <a:defRPr/>
            </a:lvl1pPr>
          </a:lstStyle>
          <a:p>
            <a:r>
              <a:rPr lang="en-US"/>
              <a:t>Edit title</a:t>
            </a:r>
            <a:endParaRPr lang="en-GB"/>
          </a:p>
        </p:txBody>
      </p:sp>
      <p:sp>
        <p:nvSpPr>
          <p:cNvPr id="4" name="Text Placeholder">
            <a:extLst>
              <a:ext uri="{FF2B5EF4-FFF2-40B4-BE49-F238E27FC236}">
                <a16:creationId xmlns:a16="http://schemas.microsoft.com/office/drawing/2014/main" id="{66AA94D2-802F-C21F-3BB0-BDE853B80242}"/>
              </a:ext>
            </a:extLst>
          </p:cNvPr>
          <p:cNvSpPr txBox="1">
            <a:spLocks/>
          </p:cNvSpPr>
          <p:nvPr/>
        </p:nvSpPr>
        <p:spPr>
          <a:xfrm>
            <a:off x="759884" y="6096000"/>
            <a:ext cx="381000" cy="380997"/>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5" name="Text Placeholder">
            <a:extLst>
              <a:ext uri="{FF2B5EF4-FFF2-40B4-BE49-F238E27FC236}">
                <a16:creationId xmlns:a16="http://schemas.microsoft.com/office/drawing/2014/main" id="{12E64E7E-8EAF-BCF9-84FE-BA1CC30BFE8F}"/>
              </a:ext>
            </a:extLst>
          </p:cNvPr>
          <p:cNvSpPr txBox="1"/>
          <p:nvPr/>
        </p:nvSpPr>
        <p:spPr>
          <a:xfrm>
            <a:off x="1140885" y="6317086"/>
            <a:ext cx="1139513" cy="164212"/>
          </a:xfrm>
          <a:prstGeom prst="rect">
            <a:avLst/>
          </a:prstGeom>
          <a:noFill/>
        </p:spPr>
        <p:txBody>
          <a:bodyPr wrap="squar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Orange Business</a:t>
            </a:r>
          </a:p>
        </p:txBody>
      </p:sp>
    </p:spTree>
    <p:extLst>
      <p:ext uri="{BB962C8B-B14F-4D97-AF65-F5344CB8AC3E}">
        <p14:creationId xmlns:p14="http://schemas.microsoft.com/office/powerpoint/2010/main" val="205199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p:cNvSpPr>
            <a:spLocks noGrp="1"/>
          </p:cNvSpPr>
          <p:nvPr>
            <p:ph sz="half" idx="1" hasCustomPrompt="1"/>
          </p:nvPr>
        </p:nvSpPr>
        <p:spPr>
          <a:xfrm>
            <a:off x="759884" y="1907118"/>
            <a:ext cx="4953000" cy="4188884"/>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4" name="Content Placeholder"/>
          <p:cNvSpPr>
            <a:spLocks noGrp="1"/>
          </p:cNvSpPr>
          <p:nvPr>
            <p:ph sz="half" idx="2" hasCustomPrompt="1"/>
          </p:nvPr>
        </p:nvSpPr>
        <p:spPr>
          <a:xfrm>
            <a:off x="6477001" y="1907118"/>
            <a:ext cx="4950884" cy="4188884"/>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7" name="Text Placeholder"/>
          <p:cNvSpPr>
            <a:spLocks noGrp="1"/>
          </p:cNvSpPr>
          <p:nvPr>
            <p:ph type="title" hasCustomPrompt="1"/>
          </p:nvPr>
        </p:nvSpPr>
        <p:spPr>
          <a:xfrm>
            <a:off x="759885" y="762000"/>
            <a:ext cx="10678583" cy="759883"/>
          </a:xfrm>
        </p:spPr>
        <p:txBody>
          <a:bodyPr/>
          <a:lstStyle>
            <a:lvl1pPr>
              <a:defRPr/>
            </a:lvl1pPr>
          </a:lstStyle>
          <a:p>
            <a:r>
              <a:rPr lang="en-US"/>
              <a:t>Edit title</a:t>
            </a:r>
            <a:endParaRPr lang="en-GB"/>
          </a:p>
        </p:txBody>
      </p:sp>
      <p:sp>
        <p:nvSpPr>
          <p:cNvPr id="6" name="Text Placeholder">
            <a:extLst>
              <a:ext uri="{FF2B5EF4-FFF2-40B4-BE49-F238E27FC236}">
                <a16:creationId xmlns:a16="http://schemas.microsoft.com/office/drawing/2014/main" id="{1C35A094-4EC9-F59B-6F61-D183C4BDF04C}"/>
              </a:ext>
            </a:extLst>
          </p:cNvPr>
          <p:cNvSpPr txBox="1">
            <a:spLocks/>
          </p:cNvSpPr>
          <p:nvPr/>
        </p:nvSpPr>
        <p:spPr>
          <a:xfrm>
            <a:off x="759884" y="6096000"/>
            <a:ext cx="381000" cy="380997"/>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8" name="Text Placeholder">
            <a:extLst>
              <a:ext uri="{FF2B5EF4-FFF2-40B4-BE49-F238E27FC236}">
                <a16:creationId xmlns:a16="http://schemas.microsoft.com/office/drawing/2014/main" id="{AA9589BE-3832-12D7-3E44-08F8E332B52D}"/>
              </a:ext>
            </a:extLst>
          </p:cNvPr>
          <p:cNvSpPr txBox="1"/>
          <p:nvPr/>
        </p:nvSpPr>
        <p:spPr>
          <a:xfrm>
            <a:off x="1140885" y="6317086"/>
            <a:ext cx="1139513" cy="164212"/>
          </a:xfrm>
          <a:prstGeom prst="rect">
            <a:avLst/>
          </a:prstGeom>
          <a:noFill/>
        </p:spPr>
        <p:txBody>
          <a:bodyPr wrap="squar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Orange Business</a:t>
            </a:r>
          </a:p>
        </p:txBody>
      </p:sp>
    </p:spTree>
    <p:extLst>
      <p:ext uri="{BB962C8B-B14F-4D97-AF65-F5344CB8AC3E}">
        <p14:creationId xmlns:p14="http://schemas.microsoft.com/office/powerpoint/2010/main" val="157209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Content Placeholder"/>
          <p:cNvSpPr>
            <a:spLocks noGrp="1"/>
          </p:cNvSpPr>
          <p:nvPr>
            <p:ph idx="1" hasCustomPrompt="1"/>
          </p:nvPr>
        </p:nvSpPr>
        <p:spPr>
          <a:xfrm>
            <a:off x="759885" y="762001"/>
            <a:ext cx="10668000" cy="5329767"/>
          </a:xfrm>
        </p:spPr>
        <p:txBody>
          <a:bodyPr/>
          <a:lstStyle>
            <a:lvl1pPr>
              <a:spcBef>
                <a:spcPts val="0"/>
              </a:spcBef>
              <a:defRPr sz="3733"/>
            </a:lvl1pPr>
            <a:lvl2pPr marL="482588" indent="-482588">
              <a:spcBef>
                <a:spcPts val="0"/>
              </a:spcBef>
              <a:buClrTx/>
              <a:buSzPct val="100000"/>
              <a:buFont typeface="+mj-lt"/>
              <a:buAutoNum type="arabicPeriod"/>
              <a:defRPr sz="3733"/>
            </a:lvl2pPr>
            <a:lvl3pPr>
              <a:defRPr sz="2400"/>
            </a:lvl3pPr>
            <a:lvl4pPr>
              <a:defRPr sz="2400"/>
            </a:lvl4pPr>
            <a:lvl5pPr>
              <a:defRPr sz="2400"/>
            </a:lvl5pPr>
          </a:lstStyle>
          <a:p>
            <a:pPr lvl="0"/>
            <a:r>
              <a:rPr lang="en-US"/>
              <a:t>Edit text</a:t>
            </a:r>
          </a:p>
          <a:p>
            <a:pPr lvl="1"/>
            <a:r>
              <a:rPr lang="en-US"/>
              <a:t>Second level</a:t>
            </a:r>
          </a:p>
        </p:txBody>
      </p:sp>
      <p:sp>
        <p:nvSpPr>
          <p:cNvPr id="4" name="Text Placeholder">
            <a:extLst>
              <a:ext uri="{FF2B5EF4-FFF2-40B4-BE49-F238E27FC236}">
                <a16:creationId xmlns:a16="http://schemas.microsoft.com/office/drawing/2014/main" id="{2B13E345-3FE8-256F-AEF3-9E7EF5959DFA}"/>
              </a:ext>
            </a:extLst>
          </p:cNvPr>
          <p:cNvSpPr txBox="1">
            <a:spLocks/>
          </p:cNvSpPr>
          <p:nvPr/>
        </p:nvSpPr>
        <p:spPr>
          <a:xfrm>
            <a:off x="759884" y="6096000"/>
            <a:ext cx="381000" cy="380997"/>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6" name="Text Placeholder">
            <a:extLst>
              <a:ext uri="{FF2B5EF4-FFF2-40B4-BE49-F238E27FC236}">
                <a16:creationId xmlns:a16="http://schemas.microsoft.com/office/drawing/2014/main" id="{E06A69BC-E98A-8E2F-A8E1-31145D4E8FD6}"/>
              </a:ext>
            </a:extLst>
          </p:cNvPr>
          <p:cNvSpPr txBox="1"/>
          <p:nvPr/>
        </p:nvSpPr>
        <p:spPr>
          <a:xfrm>
            <a:off x="1140885" y="6317086"/>
            <a:ext cx="1139513" cy="164212"/>
          </a:xfrm>
          <a:prstGeom prst="rect">
            <a:avLst/>
          </a:prstGeom>
          <a:noFill/>
        </p:spPr>
        <p:txBody>
          <a:bodyPr wrap="squar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Orange Business</a:t>
            </a:r>
          </a:p>
        </p:txBody>
      </p:sp>
    </p:spTree>
    <p:extLst>
      <p:ext uri="{BB962C8B-B14F-4D97-AF65-F5344CB8AC3E}">
        <p14:creationId xmlns:p14="http://schemas.microsoft.com/office/powerpoint/2010/main" val="226805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re de section">
    <p:spTree>
      <p:nvGrpSpPr>
        <p:cNvPr id="1" name=""/>
        <p:cNvGrpSpPr/>
        <p:nvPr/>
      </p:nvGrpSpPr>
      <p:grpSpPr>
        <a:xfrm>
          <a:off x="0" y="0"/>
          <a:ext cx="0" cy="0"/>
          <a:chOff x="0" y="0"/>
          <a:chExt cx="0" cy="0"/>
        </a:xfrm>
      </p:grpSpPr>
      <p:sp>
        <p:nvSpPr>
          <p:cNvPr id="8" name="Text Placeholder"/>
          <p:cNvSpPr>
            <a:spLocks noGrp="1"/>
          </p:cNvSpPr>
          <p:nvPr>
            <p:ph type="body" sz="quarter" idx="12" hasCustomPrompt="1"/>
          </p:nvPr>
        </p:nvSpPr>
        <p:spPr>
          <a:xfrm>
            <a:off x="759885" y="762001"/>
            <a:ext cx="10668001" cy="5329767"/>
          </a:xfrm>
        </p:spPr>
        <p:txBody>
          <a:bodyPr>
            <a:normAutofit/>
          </a:bodyPr>
          <a:lstStyle>
            <a:lvl1pPr>
              <a:lnSpc>
                <a:spcPct val="90000"/>
              </a:lnSpc>
              <a:spcBef>
                <a:spcPts val="0"/>
              </a:spcBef>
              <a:buNone/>
              <a:defRPr sz="3733" baseline="0"/>
            </a:lvl1pPr>
            <a:lvl2pPr>
              <a:lnSpc>
                <a:spcPct val="90000"/>
              </a:lnSpc>
              <a:spcBef>
                <a:spcPts val="0"/>
              </a:spcBef>
              <a:defRPr sz="3733"/>
            </a:lvl2pPr>
            <a:lvl3pPr>
              <a:defRPr sz="7333"/>
            </a:lvl3pPr>
            <a:lvl4pPr>
              <a:defRPr sz="7333"/>
            </a:lvl4pPr>
            <a:lvl5pPr>
              <a:defRPr sz="7333"/>
            </a:lvl5pPr>
          </a:lstStyle>
          <a:p>
            <a:pPr lvl="0"/>
            <a:r>
              <a:rPr lang="en-US"/>
              <a:t>Edit text</a:t>
            </a:r>
          </a:p>
          <a:p>
            <a:pPr lvl="1"/>
            <a:r>
              <a:rPr lang="en-US"/>
              <a:t>Second level</a:t>
            </a:r>
          </a:p>
        </p:txBody>
      </p:sp>
      <p:sp>
        <p:nvSpPr>
          <p:cNvPr id="4" name="Text Placeholder">
            <a:extLst>
              <a:ext uri="{FF2B5EF4-FFF2-40B4-BE49-F238E27FC236}">
                <a16:creationId xmlns:a16="http://schemas.microsoft.com/office/drawing/2014/main" id="{3A798FC2-CA0F-BE30-38C1-60CB88137026}"/>
              </a:ext>
            </a:extLst>
          </p:cNvPr>
          <p:cNvSpPr txBox="1">
            <a:spLocks/>
          </p:cNvSpPr>
          <p:nvPr/>
        </p:nvSpPr>
        <p:spPr>
          <a:xfrm>
            <a:off x="759884" y="6096000"/>
            <a:ext cx="381000" cy="380997"/>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5" name="Text Placeholder">
            <a:extLst>
              <a:ext uri="{FF2B5EF4-FFF2-40B4-BE49-F238E27FC236}">
                <a16:creationId xmlns:a16="http://schemas.microsoft.com/office/drawing/2014/main" id="{AB974BDF-1738-82DF-5AFB-5C3A5EFA7843}"/>
              </a:ext>
            </a:extLst>
          </p:cNvPr>
          <p:cNvSpPr txBox="1"/>
          <p:nvPr/>
        </p:nvSpPr>
        <p:spPr>
          <a:xfrm>
            <a:off x="1140885" y="6317086"/>
            <a:ext cx="1139513" cy="164212"/>
          </a:xfrm>
          <a:prstGeom prst="rect">
            <a:avLst/>
          </a:prstGeom>
          <a:noFill/>
        </p:spPr>
        <p:txBody>
          <a:bodyPr wrap="squar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Orange Business</a:t>
            </a:r>
          </a:p>
        </p:txBody>
      </p:sp>
    </p:spTree>
    <p:extLst>
      <p:ext uri="{BB962C8B-B14F-4D97-AF65-F5344CB8AC3E}">
        <p14:creationId xmlns:p14="http://schemas.microsoft.com/office/powerpoint/2010/main" val="247503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3" name="Text Placeholder"/>
          <p:cNvSpPr>
            <a:spLocks noGrp="1"/>
          </p:cNvSpPr>
          <p:nvPr>
            <p:ph type="title" hasCustomPrompt="1"/>
          </p:nvPr>
        </p:nvSpPr>
        <p:spPr>
          <a:xfrm>
            <a:off x="759885" y="762001"/>
            <a:ext cx="10668000" cy="759884"/>
          </a:xfrm>
        </p:spPr>
        <p:txBody>
          <a:bodyPr/>
          <a:lstStyle>
            <a:lvl1pPr>
              <a:defRPr/>
            </a:lvl1pPr>
          </a:lstStyle>
          <a:p>
            <a:r>
              <a:rPr lang="en-US"/>
              <a:t>Edit title</a:t>
            </a:r>
            <a:endParaRPr lang="en-GB"/>
          </a:p>
        </p:txBody>
      </p:sp>
    </p:spTree>
    <p:extLst>
      <p:ext uri="{BB962C8B-B14F-4D97-AF65-F5344CB8AC3E}">
        <p14:creationId xmlns:p14="http://schemas.microsoft.com/office/powerpoint/2010/main" val="369173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8"/>
            <a:ext cx="11294533" cy="831851"/>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70" y="1739901"/>
            <a:ext cx="11294532" cy="4220633"/>
          </a:xfrm>
        </p:spPr>
        <p:txBody>
          <a:bodyPr/>
          <a:lstStyle>
            <a:lvl1pPr>
              <a:lnSpc>
                <a:spcPct val="90000"/>
              </a:lnSpc>
              <a:spcAft>
                <a:spcPts val="1067"/>
              </a:spcAft>
              <a:defRPr sz="1867">
                <a:solidFill>
                  <a:srgbClr val="FF6600"/>
                </a:solidFill>
                <a:latin typeface="Helvetica 75 Bold" panose="020B0804020202020204" pitchFamily="34" charset="0"/>
              </a:defRPr>
            </a:lvl1pPr>
            <a:lvl2pPr>
              <a:lnSpc>
                <a:spcPct val="90000"/>
              </a:lnSpc>
              <a:spcAft>
                <a:spcPts val="1067"/>
              </a:spcAft>
              <a:defRPr sz="1867">
                <a:latin typeface="Helvetica 75 Bold" panose="020B0804020202020204" pitchFamily="34" charset="0"/>
              </a:defRPr>
            </a:lvl2pPr>
            <a:lvl3pPr>
              <a:lnSpc>
                <a:spcPct val="90000"/>
              </a:lnSpc>
              <a:spcAft>
                <a:spcPts val="1067"/>
              </a:spcAft>
              <a:defRPr sz="1867">
                <a:latin typeface="Helvetica 75 Bold" panose="020B0804020202020204" pitchFamily="34" charset="0"/>
              </a:defRPr>
            </a:lvl3pPr>
            <a:lvl4pPr>
              <a:lnSpc>
                <a:spcPct val="90000"/>
              </a:lnSpc>
              <a:spcAft>
                <a:spcPts val="1067"/>
              </a:spcAft>
              <a:defRPr sz="1867">
                <a:latin typeface="Helvetica 75 Bold" panose="020B0804020202020204" pitchFamily="34" charset="0"/>
              </a:defRPr>
            </a:lvl4pPr>
            <a:lvl5pPr>
              <a:lnSpc>
                <a:spcPct val="90000"/>
              </a:lnSpc>
              <a:spcAft>
                <a:spcPts val="1067"/>
              </a:spcAft>
              <a:defRPr sz="1867">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 name="Groupe 3">
            <a:extLst>
              <a:ext uri="{FF2B5EF4-FFF2-40B4-BE49-F238E27FC236}">
                <a16:creationId xmlns:a16="http://schemas.microsoft.com/office/drawing/2014/main" id="{2CE58A74-CFDA-12B4-FCD2-D76EC4EBB4F2}"/>
              </a:ext>
            </a:extLst>
          </p:cNvPr>
          <p:cNvGrpSpPr/>
          <p:nvPr userDrawn="1"/>
        </p:nvGrpSpPr>
        <p:grpSpPr>
          <a:xfrm>
            <a:off x="0" y="6169848"/>
            <a:ext cx="12192000" cy="688152"/>
            <a:chOff x="0" y="6163498"/>
            <a:chExt cx="12192000" cy="688152"/>
          </a:xfrm>
        </p:grpSpPr>
        <p:sp>
          <p:nvSpPr>
            <p:cNvPr id="5" name="Freeform 2">
              <a:extLst>
                <a:ext uri="{FF2B5EF4-FFF2-40B4-BE49-F238E27FC236}">
                  <a16:creationId xmlns:a16="http://schemas.microsoft.com/office/drawing/2014/main" id="{DD270E00-294F-1908-FB6D-8DD572285549}"/>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6" name="TextBox 3">
              <a:extLst>
                <a:ext uri="{FF2B5EF4-FFF2-40B4-BE49-F238E27FC236}">
                  <a16:creationId xmlns:a16="http://schemas.microsoft.com/office/drawing/2014/main" id="{112C2A8C-F07A-21BF-F124-E150BF12D5A9}"/>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7" name="TextBox 4">
              <a:extLst>
                <a:ext uri="{FF2B5EF4-FFF2-40B4-BE49-F238E27FC236}">
                  <a16:creationId xmlns:a16="http://schemas.microsoft.com/office/drawing/2014/main" id="{AE7F7E1A-75B4-CA2A-DDD4-B3698D2B9671}"/>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1088644182"/>
      </p:ext>
    </p:extLst>
  </p:cSld>
  <p:clrMapOvr>
    <a:masterClrMapping/>
  </p:clrMapOvr>
  <p:transition spd="med">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Full Bleed Media">
    <p:spTree>
      <p:nvGrpSpPr>
        <p:cNvPr id="1" name=""/>
        <p:cNvGrpSpPr/>
        <p:nvPr/>
      </p:nvGrpSpPr>
      <p:grpSpPr>
        <a:xfrm>
          <a:off x="0" y="0"/>
          <a:ext cx="0" cy="0"/>
          <a:chOff x="0" y="0"/>
          <a:chExt cx="0" cy="0"/>
        </a:xfrm>
      </p:grpSpPr>
      <p:sp>
        <p:nvSpPr>
          <p:cNvPr id="4" name="Picture Placeholder"/>
          <p:cNvSpPr>
            <a:spLocks noGrp="1"/>
          </p:cNvSpPr>
          <p:nvPr>
            <p:ph type="pic" sz="quarter" idx="12"/>
          </p:nvPr>
        </p:nvSpPr>
        <p:spPr>
          <a:xfrm>
            <a:off x="0" y="0"/>
            <a:ext cx="12192000" cy="6858000"/>
          </a:xfrm>
          <a:solidFill>
            <a:schemeClr val="bg1">
              <a:lumMod val="85000"/>
              <a:lumOff val="15000"/>
            </a:schemeClr>
          </a:solidFill>
        </p:spPr>
        <p:txBody>
          <a:bodyPr/>
          <a:lstStyle>
            <a:lvl1pPr>
              <a:defRPr sz="1067">
                <a:noFill/>
              </a:defRPr>
            </a:lvl1pPr>
          </a:lstStyle>
          <a:p>
            <a:r>
              <a:rPr lang="fr-FR"/>
              <a:t>Cliquez sur l'icône pour ajouter une image</a:t>
            </a:r>
            <a:endParaRPr lang="en-GB"/>
          </a:p>
        </p:txBody>
      </p:sp>
      <p:sp>
        <p:nvSpPr>
          <p:cNvPr id="2" name="Text Placeholder"/>
          <p:cNvSpPr>
            <a:spLocks noGrp="1"/>
          </p:cNvSpPr>
          <p:nvPr>
            <p:ph type="title" hasCustomPrompt="1"/>
          </p:nvPr>
        </p:nvSpPr>
        <p:spPr>
          <a:xfrm>
            <a:off x="759884" y="762000"/>
            <a:ext cx="10668000" cy="762000"/>
          </a:xfrm>
        </p:spPr>
        <p:txBody>
          <a:bodyPr/>
          <a:lstStyle>
            <a:lvl1pPr>
              <a:defRPr baseline="0">
                <a:solidFill>
                  <a:schemeClr val="tx1"/>
                </a:solidFill>
              </a:defRPr>
            </a:lvl1pPr>
          </a:lstStyle>
          <a:p>
            <a:r>
              <a:rPr lang="en-US"/>
              <a:t>Edit title</a:t>
            </a:r>
            <a:endParaRPr lang="en-GB"/>
          </a:p>
        </p:txBody>
      </p:sp>
    </p:spTree>
    <p:extLst>
      <p:ext uri="{BB962C8B-B14F-4D97-AF65-F5344CB8AC3E}">
        <p14:creationId xmlns:p14="http://schemas.microsoft.com/office/powerpoint/2010/main" val="17783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35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tatic_Pixel_3">
    <p:spTree>
      <p:nvGrpSpPr>
        <p:cNvPr id="1" name=""/>
        <p:cNvGrpSpPr/>
        <p:nvPr/>
      </p:nvGrpSpPr>
      <p:grpSpPr>
        <a:xfrm>
          <a:off x="0" y="0"/>
          <a:ext cx="0" cy="0"/>
          <a:chOff x="0" y="0"/>
          <a:chExt cx="0" cy="0"/>
        </a:xfrm>
      </p:grpSpPr>
      <p:grpSp>
        <p:nvGrpSpPr>
          <p:cNvPr id="4" name="Pixels">
            <a:extLst>
              <a:ext uri="{FF2B5EF4-FFF2-40B4-BE49-F238E27FC236}">
                <a16:creationId xmlns:a16="http://schemas.microsoft.com/office/drawing/2014/main" id="{80023CF7-7612-8302-F95B-0871E6544CEF}"/>
              </a:ext>
            </a:extLst>
          </p:cNvPr>
          <p:cNvGrpSpPr>
            <a:grpSpLocks noGrp="1" noUngrp="1" noRot="1" noMove="1" noResize="1"/>
          </p:cNvGrpSpPr>
          <p:nvPr/>
        </p:nvGrpSpPr>
        <p:grpSpPr>
          <a:xfrm>
            <a:off x="0" y="0"/>
            <a:ext cx="12192000" cy="6858000"/>
            <a:chOff x="0" y="0"/>
            <a:chExt cx="9144000" cy="5143500"/>
          </a:xfrm>
          <a:solidFill>
            <a:schemeClr val="bg1"/>
          </a:solidFill>
        </p:grpSpPr>
        <p:sp>
          <p:nvSpPr>
            <p:cNvPr id="5" name="Freeform: Shape 4">
              <a:extLst>
                <a:ext uri="{FF2B5EF4-FFF2-40B4-BE49-F238E27FC236}">
                  <a16:creationId xmlns:a16="http://schemas.microsoft.com/office/drawing/2014/main" id="{4CC2E27B-4395-7DF3-6D83-759A410A0A29}"/>
                </a:ext>
              </a:extLst>
            </p:cNvPr>
            <p:cNvSpPr>
              <a:spLocks noGrp="1" noRot="1" noMove="1" noResize="1" noEditPoints="1" noAdjustHandles="1" noChangeArrowheads="1" noChangeShapeType="1"/>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 name="Freeform: Shape 5">
              <a:extLst>
                <a:ext uri="{FF2B5EF4-FFF2-40B4-BE49-F238E27FC236}">
                  <a16:creationId xmlns:a16="http://schemas.microsoft.com/office/drawing/2014/main" id="{8BF3D1FD-D1E4-FFA4-6940-83AB4F678D00}"/>
                </a:ext>
              </a:extLst>
            </p:cNvPr>
            <p:cNvSpPr>
              <a:spLocks noGrp="1" noRot="1" noMove="1" noResize="1" noEditPoints="1" noAdjustHandles="1" noChangeArrowheads="1" noChangeShapeType="1"/>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 name="Freeform: Shape 6">
              <a:extLst>
                <a:ext uri="{FF2B5EF4-FFF2-40B4-BE49-F238E27FC236}">
                  <a16:creationId xmlns:a16="http://schemas.microsoft.com/office/drawing/2014/main" id="{3C8E39FF-3524-AEA5-18EC-EAEB91C7FD7D}"/>
                </a:ext>
              </a:extLst>
            </p:cNvPr>
            <p:cNvSpPr>
              <a:spLocks noGrp="1" noRot="1" noMove="1" noResize="1" noEditPoints="1" noAdjustHandles="1" noChangeArrowheads="1" noChangeShapeType="1"/>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 name="Freeform: Shape 7">
              <a:extLst>
                <a:ext uri="{FF2B5EF4-FFF2-40B4-BE49-F238E27FC236}">
                  <a16:creationId xmlns:a16="http://schemas.microsoft.com/office/drawing/2014/main" id="{71819311-1017-0AB7-26F6-F2420B7F1CE9}"/>
                </a:ext>
              </a:extLst>
            </p:cNvPr>
            <p:cNvSpPr>
              <a:spLocks noGrp="1" noRot="1" noMove="1" noResize="1" noEditPoints="1" noAdjustHandles="1" noChangeArrowheads="1" noChangeShapeType="1"/>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 name="Freeform: Shape 8">
              <a:extLst>
                <a:ext uri="{FF2B5EF4-FFF2-40B4-BE49-F238E27FC236}">
                  <a16:creationId xmlns:a16="http://schemas.microsoft.com/office/drawing/2014/main" id="{93EB674F-5D48-8DFD-1485-B89760ACF3E5}"/>
                </a:ext>
              </a:extLst>
            </p:cNvPr>
            <p:cNvSpPr>
              <a:spLocks noGrp="1" noRot="1" noMove="1" noResize="1" noEditPoints="1" noAdjustHandles="1" noChangeArrowheads="1" noChangeShapeType="1"/>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 name="Freeform: Shape 9">
              <a:extLst>
                <a:ext uri="{FF2B5EF4-FFF2-40B4-BE49-F238E27FC236}">
                  <a16:creationId xmlns:a16="http://schemas.microsoft.com/office/drawing/2014/main" id="{157E337E-130C-3CA5-9EC8-0EDD44060FFC}"/>
                </a:ext>
              </a:extLst>
            </p:cNvPr>
            <p:cNvSpPr>
              <a:spLocks noGrp="1" noRot="1" noMove="1" noResize="1" noEditPoints="1" noAdjustHandles="1" noChangeArrowheads="1" noChangeShapeType="1"/>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 name="Freeform: Shape 10">
              <a:extLst>
                <a:ext uri="{FF2B5EF4-FFF2-40B4-BE49-F238E27FC236}">
                  <a16:creationId xmlns:a16="http://schemas.microsoft.com/office/drawing/2014/main" id="{483EDB89-955F-2CE4-3342-BD6138DC894F}"/>
                </a:ext>
              </a:extLst>
            </p:cNvPr>
            <p:cNvSpPr>
              <a:spLocks noGrp="1" noRot="1" noMove="1" noResize="1" noEditPoints="1" noAdjustHandles="1" noChangeArrowheads="1" noChangeShapeType="1"/>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2" name="Freeform: Shape 11">
              <a:extLst>
                <a:ext uri="{FF2B5EF4-FFF2-40B4-BE49-F238E27FC236}">
                  <a16:creationId xmlns:a16="http://schemas.microsoft.com/office/drawing/2014/main" id="{BABE0AFD-E86B-2118-991D-E4743DD42F7C}"/>
                </a:ext>
              </a:extLst>
            </p:cNvPr>
            <p:cNvSpPr>
              <a:spLocks noGrp="1" noRot="1" noMove="1" noResize="1" noEditPoints="1" noAdjustHandles="1" noChangeArrowheads="1" noChangeShapeType="1"/>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 name="Freeform: Shape 12">
              <a:extLst>
                <a:ext uri="{FF2B5EF4-FFF2-40B4-BE49-F238E27FC236}">
                  <a16:creationId xmlns:a16="http://schemas.microsoft.com/office/drawing/2014/main" id="{784DEBAA-C802-7978-083A-DAC033EDB77E}"/>
                </a:ext>
              </a:extLst>
            </p:cNvPr>
            <p:cNvSpPr>
              <a:spLocks noGrp="1" noRot="1" noMove="1" noResize="1" noEditPoints="1" noAdjustHandles="1" noChangeArrowheads="1" noChangeShapeType="1"/>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 name="Freeform: Shape 13">
              <a:extLst>
                <a:ext uri="{FF2B5EF4-FFF2-40B4-BE49-F238E27FC236}">
                  <a16:creationId xmlns:a16="http://schemas.microsoft.com/office/drawing/2014/main" id="{F9B3A7F1-9EBC-8709-C2A7-8CE497D300E0}"/>
                </a:ext>
              </a:extLst>
            </p:cNvPr>
            <p:cNvSpPr>
              <a:spLocks noGrp="1" noRot="1" noMove="1" noResize="1" noEditPoints="1" noAdjustHandles="1" noChangeArrowheads="1" noChangeShapeType="1"/>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 name="Freeform: Shape 14">
              <a:extLst>
                <a:ext uri="{FF2B5EF4-FFF2-40B4-BE49-F238E27FC236}">
                  <a16:creationId xmlns:a16="http://schemas.microsoft.com/office/drawing/2014/main" id="{EC36CADF-E1B5-45DE-22F1-5BF0E00B970C}"/>
                </a:ext>
              </a:extLst>
            </p:cNvPr>
            <p:cNvSpPr>
              <a:spLocks noGrp="1" noRot="1" noMove="1" noResize="1" noEditPoints="1" noAdjustHandles="1" noChangeArrowheads="1" noChangeShapeType="1"/>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 name="Freeform: Shape 15">
              <a:extLst>
                <a:ext uri="{FF2B5EF4-FFF2-40B4-BE49-F238E27FC236}">
                  <a16:creationId xmlns:a16="http://schemas.microsoft.com/office/drawing/2014/main" id="{DBFA19A1-E498-4764-62E9-D42DB52BDDF3}"/>
                </a:ext>
              </a:extLst>
            </p:cNvPr>
            <p:cNvSpPr>
              <a:spLocks noGrp="1" noRot="1" noMove="1" noResize="1" noEditPoints="1" noAdjustHandles="1" noChangeArrowheads="1" noChangeShapeType="1"/>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637BC41C-70A5-3BD8-9943-67ADE27957DE}"/>
                </a:ext>
              </a:extLst>
            </p:cNvPr>
            <p:cNvSpPr>
              <a:spLocks noGrp="1" noRot="1" noMove="1" noResize="1" noEditPoints="1" noAdjustHandles="1" noChangeArrowheads="1" noChangeShapeType="1"/>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F226CD17-7C08-90E4-8776-B1DF1D2EAA96}"/>
                </a:ext>
              </a:extLst>
            </p:cNvPr>
            <p:cNvSpPr>
              <a:spLocks noGrp="1" noRot="1" noMove="1" noResize="1" noEditPoints="1" noAdjustHandles="1" noChangeArrowheads="1" noChangeShapeType="1"/>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678C7BAC-D52C-901A-0CE8-0688DC727975}"/>
                </a:ext>
              </a:extLst>
            </p:cNvPr>
            <p:cNvSpPr>
              <a:spLocks noGrp="1" noRot="1" noMove="1" noResize="1" noEditPoints="1" noAdjustHandles="1" noChangeArrowheads="1" noChangeShapeType="1"/>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9320A07-E23B-606D-EF1D-BC8C0C21401B}"/>
                </a:ext>
              </a:extLst>
            </p:cNvPr>
            <p:cNvSpPr>
              <a:spLocks noGrp="1" noRot="1" noMove="1" noResize="1" noEditPoints="1" noAdjustHandles="1" noChangeArrowheads="1" noChangeShapeType="1"/>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7451A6B-C7AE-AF4C-AA48-EC8677F3DEF4}"/>
                </a:ext>
              </a:extLst>
            </p:cNvPr>
            <p:cNvSpPr>
              <a:spLocks noGrp="1" noRot="1" noMove="1" noResize="1" noEditPoints="1" noAdjustHandles="1" noChangeArrowheads="1" noChangeShapeType="1"/>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3C6B2764-FA46-2EAA-0A27-2D3A30A033D5}"/>
                </a:ext>
              </a:extLst>
            </p:cNvPr>
            <p:cNvSpPr>
              <a:spLocks noGrp="1" noRot="1" noMove="1" noResize="1" noEditPoints="1" noAdjustHandles="1" noChangeArrowheads="1" noChangeShapeType="1"/>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FF7588DD-7150-F5B4-E02A-F3019E326C1B}"/>
                </a:ext>
              </a:extLst>
            </p:cNvPr>
            <p:cNvSpPr>
              <a:spLocks noGrp="1" noRot="1" noMove="1" noResize="1" noEditPoints="1" noAdjustHandles="1" noChangeArrowheads="1" noChangeShapeType="1"/>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C34CDA98-79DE-3F77-162B-CA755D5C3DF5}"/>
                </a:ext>
              </a:extLst>
            </p:cNvPr>
            <p:cNvSpPr>
              <a:spLocks noGrp="1" noRot="1" noMove="1" noResize="1" noEditPoints="1" noAdjustHandles="1" noChangeArrowheads="1" noChangeShapeType="1"/>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11C1296-B7D7-330C-E227-96D9970038B9}"/>
                </a:ext>
              </a:extLst>
            </p:cNvPr>
            <p:cNvSpPr>
              <a:spLocks noGrp="1" noRot="1" noMove="1" noResize="1" noEditPoints="1" noAdjustHandles="1" noChangeArrowheads="1" noChangeShapeType="1"/>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494902A0-9A51-B61C-0257-384D26269649}"/>
                </a:ext>
              </a:extLst>
            </p:cNvPr>
            <p:cNvSpPr>
              <a:spLocks noGrp="1" noRot="1" noMove="1" noResize="1" noEditPoints="1" noAdjustHandles="1" noChangeArrowheads="1" noChangeShapeType="1"/>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709B6248-FB82-5581-D52B-70EB740D4E9E}"/>
                </a:ext>
              </a:extLst>
            </p:cNvPr>
            <p:cNvSpPr>
              <a:spLocks noGrp="1" noRot="1" noMove="1" noResize="1" noEditPoints="1" noAdjustHandles="1" noChangeArrowheads="1" noChangeShapeType="1"/>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B5932B7F-7982-771A-BD08-9D0CABBB4FC9}"/>
                </a:ext>
              </a:extLst>
            </p:cNvPr>
            <p:cNvSpPr>
              <a:spLocks noGrp="1" noRot="1" noMove="1" noResize="1" noEditPoints="1" noAdjustHandles="1" noChangeArrowheads="1" noChangeShapeType="1"/>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B7F4DE5F-C1C7-465C-D290-6334C9A3477F}"/>
                </a:ext>
              </a:extLst>
            </p:cNvPr>
            <p:cNvSpPr>
              <a:spLocks noGrp="1" noRot="1" noMove="1" noResize="1" noEditPoints="1" noAdjustHandles="1" noChangeArrowheads="1" noChangeShapeType="1"/>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276BAD6-AB43-684E-73A2-D8B57DD77B92}"/>
                </a:ext>
              </a:extLst>
            </p:cNvPr>
            <p:cNvSpPr>
              <a:spLocks noGrp="1" noRot="1" noMove="1" noResize="1" noEditPoints="1" noAdjustHandles="1" noChangeArrowheads="1" noChangeShapeType="1"/>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A69A8C06-9B23-DE0F-0350-26AE469FA837}"/>
                </a:ext>
              </a:extLst>
            </p:cNvPr>
            <p:cNvSpPr>
              <a:spLocks noGrp="1" noRot="1" noMove="1" noResize="1" noEditPoints="1" noAdjustHandles="1" noChangeArrowheads="1" noChangeShapeType="1"/>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FAAFF054-CEAC-9A3F-3F43-7BE334A7BB6E}"/>
                </a:ext>
              </a:extLst>
            </p:cNvPr>
            <p:cNvSpPr>
              <a:spLocks noGrp="1" noRot="1" noMove="1" noResize="1" noEditPoints="1" noAdjustHandles="1" noChangeArrowheads="1" noChangeShapeType="1"/>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74D45256-CBD4-8A2E-D3D0-112FA2B112BD}"/>
                </a:ext>
              </a:extLst>
            </p:cNvPr>
            <p:cNvSpPr>
              <a:spLocks noGrp="1" noRot="1" noMove="1" noResize="1" noEditPoints="1" noAdjustHandles="1" noChangeArrowheads="1" noChangeShapeType="1"/>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2DE4B20-11C7-2D0A-6DFA-3D2E2072C1A0}"/>
                </a:ext>
              </a:extLst>
            </p:cNvPr>
            <p:cNvSpPr>
              <a:spLocks noGrp="1" noRot="1" noMove="1" noResize="1" noEditPoints="1" noAdjustHandles="1" noChangeArrowheads="1" noChangeShapeType="1"/>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B27D7E1C-FAAD-C77F-0C5F-DD9489B7CF60}"/>
                </a:ext>
              </a:extLst>
            </p:cNvPr>
            <p:cNvSpPr>
              <a:spLocks noGrp="1" noRot="1" noMove="1" noResize="1" noEditPoints="1" noAdjustHandles="1" noChangeArrowheads="1" noChangeShapeType="1"/>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7DE50B40-52C1-23E8-73BD-0A1A7D59EC6C}"/>
                </a:ext>
              </a:extLst>
            </p:cNvPr>
            <p:cNvSpPr>
              <a:spLocks noGrp="1" noRot="1" noMove="1" noResize="1" noEditPoints="1" noAdjustHandles="1" noChangeArrowheads="1" noChangeShapeType="1"/>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6CFDC0E6-F85A-205E-D18F-6307FCF914E4}"/>
                </a:ext>
              </a:extLst>
            </p:cNvPr>
            <p:cNvSpPr>
              <a:spLocks noGrp="1" noRot="1" noMove="1" noResize="1" noEditPoints="1" noAdjustHandles="1" noChangeArrowheads="1" noChangeShapeType="1"/>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5F70D294-5F33-51AC-A6C6-49C8EB03AA43}"/>
                </a:ext>
              </a:extLst>
            </p:cNvPr>
            <p:cNvSpPr>
              <a:spLocks noGrp="1" noRot="1" noMove="1" noResize="1" noEditPoints="1" noAdjustHandles="1" noChangeArrowheads="1" noChangeShapeType="1"/>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80994CA-8A30-FC83-048F-D174251414E5}"/>
                </a:ext>
              </a:extLst>
            </p:cNvPr>
            <p:cNvSpPr>
              <a:spLocks noGrp="1" noRot="1" noMove="1" noResize="1" noEditPoints="1" noAdjustHandles="1" noChangeArrowheads="1" noChangeShapeType="1"/>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94CF7AB2-1246-4B2F-7054-7671CE93D699}"/>
                </a:ext>
              </a:extLst>
            </p:cNvPr>
            <p:cNvSpPr>
              <a:spLocks noGrp="1" noRot="1" noMove="1" noResize="1" noEditPoints="1" noAdjustHandles="1" noChangeArrowheads="1" noChangeShapeType="1"/>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49420820-55B2-EA10-2AC5-4975425FEEAC}"/>
                </a:ext>
              </a:extLst>
            </p:cNvPr>
            <p:cNvSpPr>
              <a:spLocks noGrp="1" noRot="1" noMove="1" noResize="1" noEditPoints="1" noAdjustHandles="1" noChangeArrowheads="1" noChangeShapeType="1"/>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DD48F02F-AF54-2AC1-1605-15032403D2CD}"/>
                </a:ext>
              </a:extLst>
            </p:cNvPr>
            <p:cNvSpPr>
              <a:spLocks noGrp="1" noRot="1" noMove="1" noResize="1" noEditPoints="1" noAdjustHandles="1" noChangeArrowheads="1" noChangeShapeType="1"/>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E034E841-463A-B027-D7E3-5E1D6085A017}"/>
                </a:ext>
              </a:extLst>
            </p:cNvPr>
            <p:cNvSpPr>
              <a:spLocks noGrp="1" noRot="1" noMove="1" noResize="1" noEditPoints="1" noAdjustHandles="1" noChangeArrowheads="1" noChangeShapeType="1"/>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99A70D11-45BE-358E-F40B-DA8161BB0AEA}"/>
                </a:ext>
              </a:extLst>
            </p:cNvPr>
            <p:cNvSpPr>
              <a:spLocks noGrp="1" noRot="1" noMove="1" noResize="1" noEditPoints="1" noAdjustHandles="1" noChangeArrowheads="1" noChangeShapeType="1"/>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F8761792-DDDD-0152-87D3-2CF1A7D1AE16}"/>
                </a:ext>
              </a:extLst>
            </p:cNvPr>
            <p:cNvSpPr>
              <a:spLocks noGrp="1" noRot="1" noMove="1" noResize="1" noEditPoints="1" noAdjustHandles="1" noChangeArrowheads="1" noChangeShapeType="1"/>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7F7F604-F78E-13EC-0203-222DC85FB366}"/>
                </a:ext>
              </a:extLst>
            </p:cNvPr>
            <p:cNvSpPr>
              <a:spLocks noGrp="1" noRot="1" noMove="1" noResize="1" noEditPoints="1" noAdjustHandles="1" noChangeArrowheads="1" noChangeShapeType="1"/>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287C8C18-1435-2735-6ED0-C5E091F21811}"/>
                </a:ext>
              </a:extLst>
            </p:cNvPr>
            <p:cNvSpPr>
              <a:spLocks noGrp="1" noRot="1" noMove="1" noResize="1" noEditPoints="1" noAdjustHandles="1" noChangeArrowheads="1" noChangeShapeType="1"/>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9821AA03-DD7F-2B50-D3B3-9A2FD37175A5}"/>
                </a:ext>
              </a:extLst>
            </p:cNvPr>
            <p:cNvSpPr>
              <a:spLocks noGrp="1" noRot="1" noMove="1" noResize="1" noEditPoints="1" noAdjustHandles="1" noChangeArrowheads="1" noChangeShapeType="1"/>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33AC04AD-E10C-8E4E-44D8-BC65BED07C8D}"/>
                </a:ext>
              </a:extLst>
            </p:cNvPr>
            <p:cNvSpPr>
              <a:spLocks noGrp="1" noRot="1" noMove="1" noResize="1" noEditPoints="1" noAdjustHandles="1" noChangeArrowheads="1" noChangeShapeType="1"/>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409F9026-EF4B-D92E-65BB-86B8567FDC25}"/>
                </a:ext>
              </a:extLst>
            </p:cNvPr>
            <p:cNvSpPr>
              <a:spLocks noGrp="1" noRot="1" noMove="1" noResize="1" noEditPoints="1" noAdjustHandles="1" noChangeArrowheads="1" noChangeShapeType="1"/>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167241AA-9AE7-67B5-4E25-AE7C5C8C742D}"/>
                </a:ext>
              </a:extLst>
            </p:cNvPr>
            <p:cNvSpPr>
              <a:spLocks noGrp="1" noRot="1" noMove="1" noResize="1" noEditPoints="1" noAdjustHandles="1" noChangeArrowheads="1" noChangeShapeType="1"/>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A45381A8-046B-F882-0748-4832EC5AF87B}"/>
                </a:ext>
              </a:extLst>
            </p:cNvPr>
            <p:cNvSpPr>
              <a:spLocks noGrp="1" noRot="1" noMove="1" noResize="1" noEditPoints="1" noAdjustHandles="1" noChangeArrowheads="1" noChangeShapeType="1"/>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6F05B54F-920A-F602-935C-E62E65618E83}"/>
                </a:ext>
              </a:extLst>
            </p:cNvPr>
            <p:cNvSpPr>
              <a:spLocks noGrp="1" noRot="1" noMove="1" noResize="1" noEditPoints="1" noAdjustHandles="1" noChangeArrowheads="1" noChangeShapeType="1"/>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7C03D694-5D5A-DD1A-FB8E-A7660B147FAB}"/>
                </a:ext>
              </a:extLst>
            </p:cNvPr>
            <p:cNvSpPr>
              <a:spLocks noGrp="1" noRot="1" noMove="1" noResize="1" noEditPoints="1" noAdjustHandles="1" noChangeArrowheads="1" noChangeShapeType="1"/>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2599918C-ED60-FB7B-A4A4-A03D96954993}"/>
                </a:ext>
              </a:extLst>
            </p:cNvPr>
            <p:cNvSpPr>
              <a:spLocks noGrp="1" noRot="1" noMove="1" noResize="1" noEditPoints="1" noAdjustHandles="1" noChangeArrowheads="1" noChangeShapeType="1"/>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6C6C59C7-A001-90B4-6F66-597B0734E327}"/>
                </a:ext>
              </a:extLst>
            </p:cNvPr>
            <p:cNvSpPr>
              <a:spLocks noGrp="1" noRot="1" noMove="1" noResize="1" noEditPoints="1" noAdjustHandles="1" noChangeArrowheads="1" noChangeShapeType="1"/>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4AE5578A-BC59-D541-F5F1-3FFD29736DA3}"/>
                </a:ext>
              </a:extLst>
            </p:cNvPr>
            <p:cNvSpPr>
              <a:spLocks noGrp="1" noRot="1" noMove="1" noResize="1" noEditPoints="1" noAdjustHandles="1" noChangeArrowheads="1" noChangeShapeType="1"/>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0CDC8994-3B1C-0738-1136-9B6E52D83047}"/>
                </a:ext>
              </a:extLst>
            </p:cNvPr>
            <p:cNvSpPr>
              <a:spLocks noGrp="1" noRot="1" noMove="1" noResize="1" noEditPoints="1" noAdjustHandles="1" noChangeArrowheads="1" noChangeShapeType="1"/>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EF61E12A-991B-1F4A-F902-CBBD88A19393}"/>
                </a:ext>
              </a:extLst>
            </p:cNvPr>
            <p:cNvSpPr>
              <a:spLocks noGrp="1" noRot="1" noMove="1" noResize="1" noEditPoints="1" noAdjustHandles="1" noChangeArrowheads="1" noChangeShapeType="1"/>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95079015-6549-AF08-5E10-5A4938CCD6A4}"/>
                </a:ext>
              </a:extLst>
            </p:cNvPr>
            <p:cNvSpPr>
              <a:spLocks noGrp="1" noRot="1" noMove="1" noResize="1" noEditPoints="1" noAdjustHandles="1" noChangeArrowheads="1" noChangeShapeType="1"/>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28701BD1-533C-9ED1-4ACE-232AE02BAEDC}"/>
                </a:ext>
              </a:extLst>
            </p:cNvPr>
            <p:cNvSpPr>
              <a:spLocks noGrp="1" noRot="1" noMove="1" noResize="1" noEditPoints="1" noAdjustHandles="1" noChangeArrowheads="1" noChangeShapeType="1"/>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BE0CF30F-B0BB-9B98-9C7F-5E0702029B9C}"/>
                </a:ext>
              </a:extLst>
            </p:cNvPr>
            <p:cNvSpPr>
              <a:spLocks noGrp="1" noRot="1" noMove="1" noResize="1" noEditPoints="1" noAdjustHandles="1" noChangeArrowheads="1" noChangeShapeType="1"/>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21ED5217-F411-3B42-E32B-50C36D540332}"/>
                </a:ext>
              </a:extLst>
            </p:cNvPr>
            <p:cNvSpPr>
              <a:spLocks noGrp="1" noRot="1" noMove="1" noResize="1" noEditPoints="1" noAdjustHandles="1" noChangeArrowheads="1" noChangeShapeType="1"/>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784AD2B3-D824-BB8C-7FD2-62124C415FCD}"/>
                </a:ext>
              </a:extLst>
            </p:cNvPr>
            <p:cNvSpPr>
              <a:spLocks noGrp="1" noRot="1" noMove="1" noResize="1" noEditPoints="1" noAdjustHandles="1" noChangeArrowheads="1" noChangeShapeType="1"/>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747FA811-9DFA-B32A-D40E-4B88BAA5BDC2}"/>
                </a:ext>
              </a:extLst>
            </p:cNvPr>
            <p:cNvSpPr>
              <a:spLocks noGrp="1" noRot="1" noMove="1" noResize="1" noEditPoints="1" noAdjustHandles="1" noChangeArrowheads="1" noChangeShapeType="1"/>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BCCD7EF-0967-E1EB-B086-738291DED958}"/>
                </a:ext>
              </a:extLst>
            </p:cNvPr>
            <p:cNvSpPr>
              <a:spLocks noGrp="1" noRot="1" noMove="1" noResize="1" noEditPoints="1" noAdjustHandles="1" noChangeArrowheads="1" noChangeShapeType="1"/>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8390D45E-2963-82EC-15E7-9D73414DEB3B}"/>
                </a:ext>
              </a:extLst>
            </p:cNvPr>
            <p:cNvSpPr>
              <a:spLocks noGrp="1" noRot="1" noMove="1" noResize="1" noEditPoints="1" noAdjustHandles="1" noChangeArrowheads="1" noChangeShapeType="1"/>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848C3B9B-3B93-6831-028E-A7D76A0731B2}"/>
                </a:ext>
              </a:extLst>
            </p:cNvPr>
            <p:cNvSpPr>
              <a:spLocks noGrp="1" noRot="1" noMove="1" noResize="1" noEditPoints="1" noAdjustHandles="1" noChangeArrowheads="1" noChangeShapeType="1"/>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19F77C2D-F840-7A93-C5C9-46C94C8E671B}"/>
                </a:ext>
              </a:extLst>
            </p:cNvPr>
            <p:cNvSpPr>
              <a:spLocks noGrp="1" noRot="1" noMove="1" noResize="1" noEditPoints="1" noAdjustHandles="1" noChangeArrowheads="1" noChangeShapeType="1"/>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FC457D28-66D6-5619-8978-DC21589612B4}"/>
                </a:ext>
              </a:extLst>
            </p:cNvPr>
            <p:cNvSpPr>
              <a:spLocks noGrp="1" noRot="1" noMove="1" noResize="1" noEditPoints="1" noAdjustHandles="1" noChangeArrowheads="1" noChangeShapeType="1"/>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259089B3-DD8A-FE1B-E908-F31B31F86D26}"/>
                </a:ext>
              </a:extLst>
            </p:cNvPr>
            <p:cNvSpPr>
              <a:spLocks noGrp="1" noRot="1" noMove="1" noResize="1" noEditPoints="1" noAdjustHandles="1" noChangeArrowheads="1" noChangeShapeType="1"/>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25E057D9-9417-08B3-8B6A-E1A62D9E6C97}"/>
                </a:ext>
              </a:extLst>
            </p:cNvPr>
            <p:cNvSpPr>
              <a:spLocks noGrp="1" noRot="1" noMove="1" noResize="1" noEditPoints="1" noAdjustHandles="1" noChangeArrowheads="1" noChangeShapeType="1"/>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9B41A78A-F325-CF84-B92A-01A0BD91087A}"/>
                </a:ext>
              </a:extLst>
            </p:cNvPr>
            <p:cNvSpPr>
              <a:spLocks noGrp="1" noRot="1" noMove="1" noResize="1" noEditPoints="1" noAdjustHandles="1" noChangeArrowheads="1" noChangeShapeType="1"/>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13D7E1A-8A3A-7703-D119-443B5945086C}"/>
                </a:ext>
              </a:extLst>
            </p:cNvPr>
            <p:cNvSpPr>
              <a:spLocks noGrp="1" noRot="1" noMove="1" noResize="1" noEditPoints="1" noAdjustHandles="1" noChangeArrowheads="1" noChangeShapeType="1"/>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B11E442C-4D1A-3BB4-8DAA-5D1454E732EA}"/>
                </a:ext>
              </a:extLst>
            </p:cNvPr>
            <p:cNvSpPr>
              <a:spLocks noGrp="1" noRot="1" noMove="1" noResize="1" noEditPoints="1" noAdjustHandles="1" noChangeArrowheads="1" noChangeShapeType="1"/>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9211162C-74A0-027D-B85E-56FDC2B23290}"/>
                </a:ext>
              </a:extLst>
            </p:cNvPr>
            <p:cNvSpPr>
              <a:spLocks noGrp="1" noRot="1" noMove="1" noResize="1" noEditPoints="1" noAdjustHandles="1" noChangeArrowheads="1" noChangeShapeType="1"/>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53F45091-4BC0-73EE-EA5A-1F2ABB8257E0}"/>
                </a:ext>
              </a:extLst>
            </p:cNvPr>
            <p:cNvSpPr>
              <a:spLocks noGrp="1" noRot="1" noMove="1" noResize="1" noEditPoints="1" noAdjustHandles="1" noChangeArrowheads="1" noChangeShapeType="1"/>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4CD6293C-0CE2-C415-FCBE-F9ABBE6FE50C}"/>
                </a:ext>
              </a:extLst>
            </p:cNvPr>
            <p:cNvSpPr>
              <a:spLocks noGrp="1" noRot="1" noMove="1" noResize="1" noEditPoints="1" noAdjustHandles="1" noChangeArrowheads="1" noChangeShapeType="1"/>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20C102CA-C208-A8EE-BA75-5BFEEBADF1DE}"/>
                </a:ext>
              </a:extLst>
            </p:cNvPr>
            <p:cNvSpPr>
              <a:spLocks noGrp="1" noRot="1" noMove="1" noResize="1" noEditPoints="1" noAdjustHandles="1" noChangeArrowheads="1" noChangeShapeType="1"/>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4E7B816-860F-35C8-59D8-E56885221AA8}"/>
                </a:ext>
              </a:extLst>
            </p:cNvPr>
            <p:cNvSpPr>
              <a:spLocks noGrp="1" noRot="1" noMove="1" noResize="1" noEditPoints="1" noAdjustHandles="1" noChangeArrowheads="1" noChangeShapeType="1"/>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561846AC-72B2-6C46-F69D-077279F6C1E0}"/>
                </a:ext>
              </a:extLst>
            </p:cNvPr>
            <p:cNvSpPr>
              <a:spLocks noGrp="1" noRot="1" noMove="1" noResize="1" noEditPoints="1" noAdjustHandles="1" noChangeArrowheads="1" noChangeShapeType="1"/>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81CC8753-D5E6-3E2D-A888-1CAD30F82947}"/>
                </a:ext>
              </a:extLst>
            </p:cNvPr>
            <p:cNvSpPr>
              <a:spLocks noGrp="1" noRot="1" noMove="1" noResize="1" noEditPoints="1" noAdjustHandles="1" noChangeArrowheads="1" noChangeShapeType="1"/>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4A7B2C34-C34D-AB15-723B-CD772728386B}"/>
                </a:ext>
              </a:extLst>
            </p:cNvPr>
            <p:cNvSpPr>
              <a:spLocks noGrp="1" noRot="1" noMove="1" noResize="1" noEditPoints="1" noAdjustHandles="1" noChangeArrowheads="1" noChangeShapeType="1"/>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9E0757D6-B1D6-F89B-2D02-71AA5BB924CF}"/>
                </a:ext>
              </a:extLst>
            </p:cNvPr>
            <p:cNvSpPr>
              <a:spLocks noGrp="1" noRot="1" noMove="1" noResize="1" noEditPoints="1" noAdjustHandles="1" noChangeArrowheads="1" noChangeShapeType="1"/>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30334527-0542-818E-A262-4F93FB99543C}"/>
                </a:ext>
              </a:extLst>
            </p:cNvPr>
            <p:cNvSpPr>
              <a:spLocks noGrp="1" noRot="1" noMove="1" noResize="1" noEditPoints="1" noAdjustHandles="1" noChangeArrowheads="1" noChangeShapeType="1"/>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8FF000A8-D1F6-DA97-CC02-ED8D460673A7}"/>
                </a:ext>
              </a:extLst>
            </p:cNvPr>
            <p:cNvSpPr>
              <a:spLocks noGrp="1" noRot="1" noMove="1" noResize="1" noEditPoints="1" noAdjustHandles="1" noChangeArrowheads="1" noChangeShapeType="1"/>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238CED25-E683-45CF-DA19-9C33DB93CD18}"/>
                </a:ext>
              </a:extLst>
            </p:cNvPr>
            <p:cNvSpPr>
              <a:spLocks noGrp="1" noRot="1" noMove="1" noResize="1" noEditPoints="1" noAdjustHandles="1" noChangeArrowheads="1" noChangeShapeType="1"/>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B57E25A7-5EAB-01FB-0A6F-2B6B507432CD}"/>
                </a:ext>
              </a:extLst>
            </p:cNvPr>
            <p:cNvSpPr>
              <a:spLocks noGrp="1" noRot="1" noMove="1" noResize="1" noEditPoints="1" noAdjustHandles="1" noChangeArrowheads="1" noChangeShapeType="1"/>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54447D5E-5D2D-4342-9CBF-DF4019CD1498}"/>
                </a:ext>
              </a:extLst>
            </p:cNvPr>
            <p:cNvSpPr>
              <a:spLocks noGrp="1" noRot="1" noMove="1" noResize="1" noEditPoints="1" noAdjustHandles="1" noChangeArrowheads="1" noChangeShapeType="1"/>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6C5865A3-8F59-6B6E-C357-4AD0F556B74B}"/>
                </a:ext>
              </a:extLst>
            </p:cNvPr>
            <p:cNvSpPr>
              <a:spLocks noGrp="1" noRot="1" noMove="1" noResize="1" noEditPoints="1" noAdjustHandles="1" noChangeArrowheads="1" noChangeShapeType="1"/>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4271EF2F-866F-7175-53EE-974C360FEAAE}"/>
                </a:ext>
              </a:extLst>
            </p:cNvPr>
            <p:cNvSpPr>
              <a:spLocks noGrp="1" noRot="1" noMove="1" noResize="1" noEditPoints="1" noAdjustHandles="1" noChangeArrowheads="1" noChangeShapeType="1"/>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1721EC79-70AB-0218-8BF8-E212E88F5A6D}"/>
                </a:ext>
              </a:extLst>
            </p:cNvPr>
            <p:cNvSpPr>
              <a:spLocks noGrp="1" noRot="1" noMove="1" noResize="1" noEditPoints="1" noAdjustHandles="1" noChangeArrowheads="1" noChangeShapeType="1"/>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C827C38A-67E2-D2F8-FECC-BEF934D64ADA}"/>
                </a:ext>
              </a:extLst>
            </p:cNvPr>
            <p:cNvSpPr>
              <a:spLocks noGrp="1" noRot="1" noMove="1" noResize="1" noEditPoints="1" noAdjustHandles="1" noChangeArrowheads="1" noChangeShapeType="1"/>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ECA95EDE-71D9-386C-BBCA-91C2AE729599}"/>
                </a:ext>
              </a:extLst>
            </p:cNvPr>
            <p:cNvSpPr>
              <a:spLocks noGrp="1" noRot="1" noMove="1" noResize="1" noEditPoints="1" noAdjustHandles="1" noChangeArrowheads="1" noChangeShapeType="1"/>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CB52AEE2-FCED-0818-4E87-95D1EB52BC13}"/>
                </a:ext>
              </a:extLst>
            </p:cNvPr>
            <p:cNvSpPr>
              <a:spLocks noGrp="1" noRot="1" noMove="1" noResize="1" noEditPoints="1" noAdjustHandles="1" noChangeArrowheads="1" noChangeShapeType="1"/>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A483F5A3-BBF5-FC1C-266A-AA3CC08806E3}"/>
                </a:ext>
              </a:extLst>
            </p:cNvPr>
            <p:cNvSpPr>
              <a:spLocks noGrp="1" noRot="1" noMove="1" noResize="1" noEditPoints="1" noAdjustHandles="1" noChangeArrowheads="1" noChangeShapeType="1"/>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991B9CAE-6053-3DCD-5D66-A73F2847D4C1}"/>
                </a:ext>
              </a:extLst>
            </p:cNvPr>
            <p:cNvSpPr>
              <a:spLocks noGrp="1" noRot="1" noMove="1" noResize="1" noEditPoints="1" noAdjustHandles="1" noChangeArrowheads="1" noChangeShapeType="1"/>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E308FCFC-318D-BDAC-0E2B-5E68E436C891}"/>
                </a:ext>
              </a:extLst>
            </p:cNvPr>
            <p:cNvSpPr>
              <a:spLocks noGrp="1" noRot="1" noMove="1" noResize="1" noEditPoints="1" noAdjustHandles="1" noChangeArrowheads="1" noChangeShapeType="1"/>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D8461E9-6AC1-0098-8E91-671DB9625217}"/>
                </a:ext>
              </a:extLst>
            </p:cNvPr>
            <p:cNvSpPr>
              <a:spLocks noGrp="1" noRot="1" noMove="1" noResize="1" noEditPoints="1" noAdjustHandles="1" noChangeArrowheads="1" noChangeShapeType="1"/>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3D32566D-9751-D225-60C7-2100199323FE}"/>
                </a:ext>
              </a:extLst>
            </p:cNvPr>
            <p:cNvSpPr>
              <a:spLocks noGrp="1" noRot="1" noMove="1" noResize="1" noEditPoints="1" noAdjustHandles="1" noChangeArrowheads="1" noChangeShapeType="1"/>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2F655500-79D6-9DC4-70CE-10DC269B7304}"/>
                </a:ext>
              </a:extLst>
            </p:cNvPr>
            <p:cNvSpPr>
              <a:spLocks noGrp="1" noRot="1" noMove="1" noResize="1" noEditPoints="1" noAdjustHandles="1" noChangeArrowheads="1" noChangeShapeType="1"/>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7D03A24A-587A-80B7-01FB-EDF7BA1D2B78}"/>
                </a:ext>
              </a:extLst>
            </p:cNvPr>
            <p:cNvSpPr>
              <a:spLocks noGrp="1" noRot="1" noMove="1" noResize="1" noEditPoints="1" noAdjustHandles="1" noChangeArrowheads="1" noChangeShapeType="1"/>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6807F1A9-D8DC-2259-38E3-E1A586638CD5}"/>
                </a:ext>
              </a:extLst>
            </p:cNvPr>
            <p:cNvSpPr>
              <a:spLocks noGrp="1" noRot="1" noMove="1" noResize="1" noEditPoints="1" noAdjustHandles="1" noChangeArrowheads="1" noChangeShapeType="1"/>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E091CF0D-6EBB-FF5C-73F9-DF66C29C938F}"/>
                </a:ext>
              </a:extLst>
            </p:cNvPr>
            <p:cNvSpPr>
              <a:spLocks noGrp="1" noRot="1" noMove="1" noResize="1" noEditPoints="1" noAdjustHandles="1" noChangeArrowheads="1" noChangeShapeType="1"/>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56EDCD40-4DDA-8572-3C97-0F37E489B59F}"/>
                </a:ext>
              </a:extLst>
            </p:cNvPr>
            <p:cNvSpPr>
              <a:spLocks noGrp="1" noRot="1" noMove="1" noResize="1" noEditPoints="1" noAdjustHandles="1" noChangeArrowheads="1" noChangeShapeType="1"/>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E4EE5A66-82EA-2384-4E75-3CC27B0F8B5C}"/>
                </a:ext>
              </a:extLst>
            </p:cNvPr>
            <p:cNvSpPr>
              <a:spLocks noGrp="1" noRot="1" noMove="1" noResize="1" noEditPoints="1" noAdjustHandles="1" noChangeArrowheads="1" noChangeShapeType="1"/>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82A4D2E-BC81-96C5-B12C-A97B252378A5}"/>
                </a:ext>
              </a:extLst>
            </p:cNvPr>
            <p:cNvSpPr>
              <a:spLocks noGrp="1" noRot="1" noMove="1" noResize="1" noEditPoints="1" noAdjustHandles="1" noChangeArrowheads="1" noChangeShapeType="1"/>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C95031E4-CB09-5632-2DA0-13293FD84092}"/>
                </a:ext>
              </a:extLst>
            </p:cNvPr>
            <p:cNvSpPr>
              <a:spLocks noGrp="1" noRot="1" noMove="1" noResize="1" noEditPoints="1" noAdjustHandles="1" noChangeArrowheads="1" noChangeShapeType="1"/>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60FB815D-8F5C-9EA1-0F4A-B5D909FB565A}"/>
                </a:ext>
              </a:extLst>
            </p:cNvPr>
            <p:cNvSpPr>
              <a:spLocks noGrp="1" noRot="1" noMove="1" noResize="1" noEditPoints="1" noAdjustHandles="1" noChangeArrowheads="1" noChangeShapeType="1"/>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118F29B0-D6E1-2229-2370-3E8460226B38}"/>
                </a:ext>
              </a:extLst>
            </p:cNvPr>
            <p:cNvSpPr>
              <a:spLocks noGrp="1" noRot="1" noMove="1" noResize="1" noEditPoints="1" noAdjustHandles="1" noChangeArrowheads="1" noChangeShapeType="1"/>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5FA7F96C-0C88-D338-88FA-D26F585E7D5C}"/>
                </a:ext>
              </a:extLst>
            </p:cNvPr>
            <p:cNvSpPr>
              <a:spLocks noGrp="1" noRot="1" noMove="1" noResize="1" noEditPoints="1" noAdjustHandles="1" noChangeArrowheads="1" noChangeShapeType="1"/>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3F8F4EC2-2FAB-823C-7EC5-367340734922}"/>
                </a:ext>
              </a:extLst>
            </p:cNvPr>
            <p:cNvSpPr>
              <a:spLocks noGrp="1" noRot="1" noMove="1" noResize="1" noEditPoints="1" noAdjustHandles="1" noChangeArrowheads="1" noChangeShapeType="1"/>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46978B74-AB94-9D8F-EB55-F5783CF4144E}"/>
                </a:ext>
              </a:extLst>
            </p:cNvPr>
            <p:cNvSpPr>
              <a:spLocks noGrp="1" noRot="1" noMove="1" noResize="1" noEditPoints="1" noAdjustHandles="1" noChangeArrowheads="1" noChangeShapeType="1"/>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1C82555F-155F-DAC6-6ECB-36327794E836}"/>
                </a:ext>
              </a:extLst>
            </p:cNvPr>
            <p:cNvSpPr>
              <a:spLocks noGrp="1" noRot="1" noMove="1" noResize="1" noEditPoints="1" noAdjustHandles="1" noChangeArrowheads="1" noChangeShapeType="1"/>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E217227-7441-F6D6-0B90-4008A5AD1618}"/>
                </a:ext>
              </a:extLst>
            </p:cNvPr>
            <p:cNvSpPr>
              <a:spLocks noGrp="1" noRot="1" noMove="1" noResize="1" noEditPoints="1" noAdjustHandles="1" noChangeArrowheads="1" noChangeShapeType="1"/>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BC116666-DD88-9AE5-F779-7A916A095F9C}"/>
                </a:ext>
              </a:extLst>
            </p:cNvPr>
            <p:cNvSpPr>
              <a:spLocks noGrp="1" noRot="1" noMove="1" noResize="1" noEditPoints="1" noAdjustHandles="1" noChangeArrowheads="1" noChangeShapeType="1"/>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79B31EB4-74A7-AB80-4593-B0808D817A69}"/>
                </a:ext>
              </a:extLst>
            </p:cNvPr>
            <p:cNvSpPr>
              <a:spLocks noGrp="1" noRot="1" noMove="1" noResize="1" noEditPoints="1" noAdjustHandles="1" noChangeArrowheads="1" noChangeShapeType="1"/>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4CB7C084-F201-184F-7617-012EA74E97B9}"/>
                </a:ext>
              </a:extLst>
            </p:cNvPr>
            <p:cNvSpPr>
              <a:spLocks noGrp="1" noRot="1" noMove="1" noResize="1" noEditPoints="1" noAdjustHandles="1" noChangeArrowheads="1" noChangeShapeType="1"/>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96A7C405-AAAE-D87C-0620-ADBF691317C7}"/>
                </a:ext>
              </a:extLst>
            </p:cNvPr>
            <p:cNvSpPr>
              <a:spLocks noGrp="1" noRot="1" noMove="1" noResize="1" noEditPoints="1" noAdjustHandles="1" noChangeArrowheads="1" noChangeShapeType="1"/>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F658F4CD-502A-C806-0758-B3EF664FEE5E}"/>
                </a:ext>
              </a:extLst>
            </p:cNvPr>
            <p:cNvSpPr>
              <a:spLocks noGrp="1" noRot="1" noMove="1" noResize="1" noEditPoints="1" noAdjustHandles="1" noChangeArrowheads="1" noChangeShapeType="1"/>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7367FC40-B4FC-0A60-C9F4-B0C28D6988AE}"/>
                </a:ext>
              </a:extLst>
            </p:cNvPr>
            <p:cNvSpPr>
              <a:spLocks noGrp="1" noRot="1" noMove="1" noResize="1" noEditPoints="1" noAdjustHandles="1" noChangeArrowheads="1" noChangeShapeType="1"/>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C18CEFC2-17D7-6812-7A6C-B00B43E59206}"/>
                </a:ext>
              </a:extLst>
            </p:cNvPr>
            <p:cNvSpPr>
              <a:spLocks noGrp="1" noRot="1" noMove="1" noResize="1" noEditPoints="1" noAdjustHandles="1" noChangeArrowheads="1" noChangeShapeType="1"/>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38730C2C-3711-E24A-35C8-3633AFFDB00E}"/>
                </a:ext>
              </a:extLst>
            </p:cNvPr>
            <p:cNvSpPr>
              <a:spLocks noGrp="1" noRot="1" noMove="1" noResize="1" noEditPoints="1" noAdjustHandles="1" noChangeArrowheads="1" noChangeShapeType="1"/>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411CE659-D33E-CDC6-1133-5410B9F8471A}"/>
                </a:ext>
              </a:extLst>
            </p:cNvPr>
            <p:cNvSpPr>
              <a:spLocks noGrp="1" noRot="1" noMove="1" noResize="1" noEditPoints="1" noAdjustHandles="1" noChangeArrowheads="1" noChangeShapeType="1"/>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E29FA526-997D-F4BA-9F8D-AD621E64B382}"/>
                </a:ext>
              </a:extLst>
            </p:cNvPr>
            <p:cNvSpPr>
              <a:spLocks noGrp="1" noRot="1" noMove="1" noResize="1" noEditPoints="1" noAdjustHandles="1" noChangeArrowheads="1" noChangeShapeType="1"/>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B77439E6-5198-7972-3A2F-3C82594115ED}"/>
                </a:ext>
              </a:extLst>
            </p:cNvPr>
            <p:cNvSpPr>
              <a:spLocks noGrp="1" noRot="1" noMove="1" noResize="1" noEditPoints="1" noAdjustHandles="1" noChangeArrowheads="1" noChangeShapeType="1"/>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99E6C473-9BD7-4229-1100-3FC2FDEB89C4}"/>
                </a:ext>
              </a:extLst>
            </p:cNvPr>
            <p:cNvSpPr>
              <a:spLocks noGrp="1" noRot="1" noMove="1" noResize="1" noEditPoints="1" noAdjustHandles="1" noChangeArrowheads="1" noChangeShapeType="1"/>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EE488029-0F68-9CFB-E563-FA20792B9DE3}"/>
                </a:ext>
              </a:extLst>
            </p:cNvPr>
            <p:cNvSpPr>
              <a:spLocks noGrp="1" noRot="1" noMove="1" noResize="1" noEditPoints="1" noAdjustHandles="1" noChangeArrowheads="1" noChangeShapeType="1"/>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BF1AB9CB-EA5A-0762-0F38-6F0CFFE2F7C4}"/>
                </a:ext>
              </a:extLst>
            </p:cNvPr>
            <p:cNvSpPr>
              <a:spLocks noGrp="1" noRot="1" noMove="1" noResize="1" noEditPoints="1" noAdjustHandles="1" noChangeArrowheads="1" noChangeShapeType="1"/>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91BE4A77-58F4-F721-D5DD-AE7CAE03D8A8}"/>
                </a:ext>
              </a:extLst>
            </p:cNvPr>
            <p:cNvSpPr>
              <a:spLocks noGrp="1" noRot="1" noMove="1" noResize="1" noEditPoints="1" noAdjustHandles="1" noChangeArrowheads="1" noChangeShapeType="1"/>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7321ADAB-8DE9-75A7-5E76-213AC43BC446}"/>
                </a:ext>
              </a:extLst>
            </p:cNvPr>
            <p:cNvSpPr>
              <a:spLocks noGrp="1" noRot="1" noMove="1" noResize="1" noEditPoints="1" noAdjustHandles="1" noChangeArrowheads="1" noChangeShapeType="1"/>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BCAB55D8-1918-C127-A3D7-45150BD9E3E9}"/>
                </a:ext>
              </a:extLst>
            </p:cNvPr>
            <p:cNvSpPr>
              <a:spLocks noGrp="1" noRot="1" noMove="1" noResize="1" noEditPoints="1" noAdjustHandles="1" noChangeArrowheads="1" noChangeShapeType="1"/>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0EEBD261-AADC-2C2C-5FE3-E01EC0724F18}"/>
                </a:ext>
              </a:extLst>
            </p:cNvPr>
            <p:cNvSpPr>
              <a:spLocks noGrp="1" noRot="1" noMove="1" noResize="1" noEditPoints="1" noAdjustHandles="1" noChangeArrowheads="1" noChangeShapeType="1"/>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AE634EBE-DA43-C9AB-2BCF-7129F9CD7D93}"/>
                </a:ext>
              </a:extLst>
            </p:cNvPr>
            <p:cNvSpPr>
              <a:spLocks noGrp="1" noRot="1" noMove="1" noResize="1" noEditPoints="1" noAdjustHandles="1" noChangeArrowheads="1" noChangeShapeType="1"/>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7DB5EEBD-9F1B-969B-3CD1-5FA7041AEE88}"/>
                </a:ext>
              </a:extLst>
            </p:cNvPr>
            <p:cNvSpPr>
              <a:spLocks noGrp="1" noRot="1" noMove="1" noResize="1" noEditPoints="1" noAdjustHandles="1" noChangeArrowheads="1" noChangeShapeType="1"/>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55FFC0DC-5D04-7E6E-8942-A54EE127326B}"/>
                </a:ext>
              </a:extLst>
            </p:cNvPr>
            <p:cNvSpPr>
              <a:spLocks noGrp="1" noRot="1" noMove="1" noResize="1" noEditPoints="1" noAdjustHandles="1" noChangeArrowheads="1" noChangeShapeType="1"/>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78AEF6A8-4B36-1347-82D4-E289682AE0C4}"/>
                </a:ext>
              </a:extLst>
            </p:cNvPr>
            <p:cNvSpPr>
              <a:spLocks noGrp="1" noRot="1" noMove="1" noResize="1" noEditPoints="1" noAdjustHandles="1" noChangeArrowheads="1" noChangeShapeType="1"/>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AE9EDB2E-2B26-BF13-DE0C-03C34976AFB0}"/>
                </a:ext>
              </a:extLst>
            </p:cNvPr>
            <p:cNvSpPr>
              <a:spLocks noGrp="1" noRot="1" noMove="1" noResize="1" noEditPoints="1" noAdjustHandles="1" noChangeArrowheads="1" noChangeShapeType="1"/>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70CEF721-D1FB-111B-5813-0FD9AADE81F2}"/>
                </a:ext>
              </a:extLst>
            </p:cNvPr>
            <p:cNvSpPr>
              <a:spLocks noGrp="1" noRot="1" noMove="1" noResize="1" noEditPoints="1" noAdjustHandles="1" noChangeArrowheads="1" noChangeShapeType="1"/>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70177017-D377-6C8D-D133-87EC426EBFEC}"/>
                </a:ext>
              </a:extLst>
            </p:cNvPr>
            <p:cNvSpPr>
              <a:spLocks noGrp="1" noRot="1" noMove="1" noResize="1" noEditPoints="1" noAdjustHandles="1" noChangeArrowheads="1" noChangeShapeType="1"/>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DFC8E38E-913F-7847-1CC9-D658B9FED1A5}"/>
                </a:ext>
              </a:extLst>
            </p:cNvPr>
            <p:cNvSpPr>
              <a:spLocks noGrp="1" noRot="1" noMove="1" noResize="1" noEditPoints="1" noAdjustHandles="1" noChangeArrowheads="1" noChangeShapeType="1"/>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7EFD555E-8176-A056-888F-B20E0827EB0C}"/>
                </a:ext>
              </a:extLst>
            </p:cNvPr>
            <p:cNvSpPr>
              <a:spLocks noGrp="1" noRot="1" noMove="1" noResize="1" noEditPoints="1" noAdjustHandles="1" noChangeArrowheads="1" noChangeShapeType="1"/>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F6394B1D-A285-996A-F6D6-DC7C726C006F}"/>
                </a:ext>
              </a:extLst>
            </p:cNvPr>
            <p:cNvSpPr>
              <a:spLocks noGrp="1" noRot="1" noMove="1" noResize="1" noEditPoints="1" noAdjustHandles="1" noChangeArrowheads="1" noChangeShapeType="1"/>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4E93ED34-3545-73E3-7877-62D36C40BF7D}"/>
                </a:ext>
              </a:extLst>
            </p:cNvPr>
            <p:cNvSpPr>
              <a:spLocks noGrp="1" noRot="1" noMove="1" noResize="1" noEditPoints="1" noAdjustHandles="1" noChangeArrowheads="1" noChangeShapeType="1"/>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E6006DCB-1CE7-0318-1842-6CBDD9BEDC6C}"/>
                </a:ext>
              </a:extLst>
            </p:cNvPr>
            <p:cNvSpPr>
              <a:spLocks noGrp="1" noRot="1" noMove="1" noResize="1" noEditPoints="1" noAdjustHandles="1" noChangeArrowheads="1" noChangeShapeType="1"/>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3E6AF441-FF31-C26E-31DD-C730F683A0AC}"/>
                </a:ext>
              </a:extLst>
            </p:cNvPr>
            <p:cNvSpPr>
              <a:spLocks noGrp="1" noRot="1" noMove="1" noResize="1" noEditPoints="1" noAdjustHandles="1" noChangeArrowheads="1" noChangeShapeType="1"/>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64AE3CE8-E27A-9C99-BD36-D421B63B99D8}"/>
                </a:ext>
              </a:extLst>
            </p:cNvPr>
            <p:cNvSpPr>
              <a:spLocks noGrp="1" noRot="1" noMove="1" noResize="1" noEditPoints="1" noAdjustHandles="1" noChangeArrowheads="1" noChangeShapeType="1"/>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95D1F43D-ADDF-79E6-A915-47391945149C}"/>
                </a:ext>
              </a:extLst>
            </p:cNvPr>
            <p:cNvSpPr>
              <a:spLocks noGrp="1" noRot="1" noMove="1" noResize="1" noEditPoints="1" noAdjustHandles="1" noChangeArrowheads="1" noChangeShapeType="1"/>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grpSp>
      <p:sp>
        <p:nvSpPr>
          <p:cNvPr id="3" name="Content Placeholder"/>
          <p:cNvSpPr>
            <a:spLocks noGrp="1"/>
          </p:cNvSpPr>
          <p:nvPr>
            <p:ph idx="1" hasCustomPrompt="1"/>
          </p:nvPr>
        </p:nvSpPr>
        <p:spPr>
          <a:xfrm>
            <a:off x="759884" y="1907119"/>
            <a:ext cx="8001001" cy="3047999"/>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Text Placeholder"/>
          <p:cNvSpPr>
            <a:spLocks noGrp="1"/>
          </p:cNvSpPr>
          <p:nvPr>
            <p:ph type="title" hasCustomPrompt="1"/>
          </p:nvPr>
        </p:nvSpPr>
        <p:spPr>
          <a:xfrm>
            <a:off x="759885" y="762001"/>
            <a:ext cx="8001000" cy="759884"/>
          </a:xfrm>
        </p:spPr>
        <p:txBody>
          <a:bodyPr/>
          <a:lstStyle>
            <a:lvl1pPr>
              <a:defRPr/>
            </a:lvl1pPr>
          </a:lstStyle>
          <a:p>
            <a:r>
              <a:rPr lang="en-US"/>
              <a:t>Edit title</a:t>
            </a:r>
            <a:endParaRPr lang="en-GB"/>
          </a:p>
        </p:txBody>
      </p:sp>
    </p:spTree>
    <p:extLst>
      <p:ext uri="{BB962C8B-B14F-4D97-AF65-F5344CB8AC3E}">
        <p14:creationId xmlns:p14="http://schemas.microsoft.com/office/powerpoint/2010/main" val="386185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atic_Pixel_4">
    <p:spTree>
      <p:nvGrpSpPr>
        <p:cNvPr id="1" name=""/>
        <p:cNvGrpSpPr/>
        <p:nvPr/>
      </p:nvGrpSpPr>
      <p:grpSpPr>
        <a:xfrm>
          <a:off x="0" y="0"/>
          <a:ext cx="0" cy="0"/>
          <a:chOff x="0" y="0"/>
          <a:chExt cx="0" cy="0"/>
        </a:xfrm>
      </p:grpSpPr>
      <p:grpSp>
        <p:nvGrpSpPr>
          <p:cNvPr id="149" name="Pixels">
            <a:extLst>
              <a:ext uri="{FF2B5EF4-FFF2-40B4-BE49-F238E27FC236}">
                <a16:creationId xmlns:a16="http://schemas.microsoft.com/office/drawing/2014/main" id="{2C8D3C27-B882-DE66-20FF-CDF4D0406085}"/>
              </a:ext>
            </a:extLst>
          </p:cNvPr>
          <p:cNvGrpSpPr>
            <a:grpSpLocks noGrp="1" noUngrp="1" noRot="1" noMove="1" noResize="1"/>
          </p:cNvGrpSpPr>
          <p:nvPr/>
        </p:nvGrpSpPr>
        <p:grpSpPr>
          <a:xfrm>
            <a:off x="0" y="0"/>
            <a:ext cx="12192000" cy="6858000"/>
            <a:chOff x="0" y="0"/>
            <a:chExt cx="9144000" cy="5143500"/>
          </a:xfrm>
          <a:solidFill>
            <a:schemeClr val="bg1"/>
          </a:solidFill>
        </p:grpSpPr>
        <p:sp>
          <p:nvSpPr>
            <p:cNvPr id="151" name="Freeform: Shape 150">
              <a:extLst>
                <a:ext uri="{FF2B5EF4-FFF2-40B4-BE49-F238E27FC236}">
                  <a16:creationId xmlns:a16="http://schemas.microsoft.com/office/drawing/2014/main" id="{0C347E4E-2B9B-6030-E41E-E49B22BDC63B}"/>
                </a:ext>
              </a:extLst>
            </p:cNvPr>
            <p:cNvSpPr>
              <a:spLocks noGrp="1" noRot="1" noMove="1" noResize="1" noEditPoints="1" noAdjustHandles="1" noChangeArrowheads="1" noChangeShapeType="1"/>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5583D2F6-C873-B13D-8BB8-1BDFCF0EB3ED}"/>
                </a:ext>
              </a:extLst>
            </p:cNvPr>
            <p:cNvSpPr>
              <a:spLocks noGrp="1" noRot="1" noMove="1" noResize="1" noEditPoints="1" noAdjustHandles="1" noChangeArrowheads="1" noChangeShapeType="1"/>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12067B42-A43D-F04A-1035-2359BA4E33D3}"/>
                </a:ext>
              </a:extLst>
            </p:cNvPr>
            <p:cNvSpPr>
              <a:spLocks noGrp="1" noRot="1" noMove="1" noResize="1" noEditPoints="1" noAdjustHandles="1" noChangeArrowheads="1" noChangeShapeType="1"/>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5239ED42-95C7-ED97-D75D-4C1FCBEE9245}"/>
                </a:ext>
              </a:extLst>
            </p:cNvPr>
            <p:cNvSpPr>
              <a:spLocks noGrp="1" noRot="1" noMove="1" noResize="1" noEditPoints="1" noAdjustHandles="1" noChangeArrowheads="1" noChangeShapeType="1"/>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23B95DB1-F5B7-3F25-A77C-0DE2BB11E787}"/>
                </a:ext>
              </a:extLst>
            </p:cNvPr>
            <p:cNvSpPr>
              <a:spLocks noGrp="1" noRot="1" noMove="1" noResize="1" noEditPoints="1" noAdjustHandles="1" noChangeArrowheads="1" noChangeShapeType="1"/>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AFEF9290-7784-DEA4-6204-45AD260323E3}"/>
                </a:ext>
              </a:extLst>
            </p:cNvPr>
            <p:cNvSpPr>
              <a:spLocks noGrp="1" noRot="1" noMove="1" noResize="1" noEditPoints="1" noAdjustHandles="1" noChangeArrowheads="1" noChangeShapeType="1"/>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5A70DFDE-4294-4FA0-DF46-6D13671C2A7F}"/>
                </a:ext>
              </a:extLst>
            </p:cNvPr>
            <p:cNvSpPr>
              <a:spLocks noGrp="1" noRot="1" noMove="1" noResize="1" noEditPoints="1" noAdjustHandles="1" noChangeArrowheads="1" noChangeShapeType="1"/>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82F01915-0C7F-70A2-B1D5-9087B9B46FF9}"/>
                </a:ext>
              </a:extLst>
            </p:cNvPr>
            <p:cNvSpPr>
              <a:spLocks noGrp="1" noRot="1" noMove="1" noResize="1" noEditPoints="1" noAdjustHandles="1" noChangeArrowheads="1" noChangeShapeType="1"/>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26F7AD30-C0E7-3563-A483-12A17E5A5AAB}"/>
                </a:ext>
              </a:extLst>
            </p:cNvPr>
            <p:cNvSpPr>
              <a:spLocks noGrp="1" noRot="1" noMove="1" noResize="1" noEditPoints="1" noAdjustHandles="1" noChangeArrowheads="1" noChangeShapeType="1"/>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13966866-8A22-B4D4-5261-EEFE32E0374E}"/>
                </a:ext>
              </a:extLst>
            </p:cNvPr>
            <p:cNvSpPr>
              <a:spLocks noGrp="1" noRot="1" noMove="1" noResize="1" noEditPoints="1" noAdjustHandles="1" noChangeArrowheads="1" noChangeShapeType="1"/>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C8B6025E-8092-14F4-5DA0-5D50AC73E0BF}"/>
                </a:ext>
              </a:extLst>
            </p:cNvPr>
            <p:cNvSpPr>
              <a:spLocks noGrp="1" noRot="1" noMove="1" noResize="1" noEditPoints="1" noAdjustHandles="1" noChangeArrowheads="1" noChangeShapeType="1"/>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28B3C23F-F0CE-2AA9-67BC-FF0E31C72F82}"/>
                </a:ext>
              </a:extLst>
            </p:cNvPr>
            <p:cNvSpPr>
              <a:spLocks noGrp="1" noRot="1" noMove="1" noResize="1" noEditPoints="1" noAdjustHandles="1" noChangeArrowheads="1" noChangeShapeType="1"/>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BE891C70-0805-07B6-3AE7-8216116ABC0A}"/>
                </a:ext>
              </a:extLst>
            </p:cNvPr>
            <p:cNvSpPr>
              <a:spLocks noGrp="1" noRot="1" noMove="1" noResize="1" noEditPoints="1" noAdjustHandles="1" noChangeArrowheads="1" noChangeShapeType="1"/>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A7B0E3AE-F021-5D96-150C-9CF805A2CB4C}"/>
                </a:ext>
              </a:extLst>
            </p:cNvPr>
            <p:cNvSpPr>
              <a:spLocks noGrp="1" noRot="1" noMove="1" noResize="1" noEditPoints="1" noAdjustHandles="1" noChangeArrowheads="1" noChangeShapeType="1"/>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C54DC159-8C0C-4949-E5D4-210B7A947B31}"/>
                </a:ext>
              </a:extLst>
            </p:cNvPr>
            <p:cNvSpPr>
              <a:spLocks noGrp="1" noRot="1" noMove="1" noResize="1" noEditPoints="1" noAdjustHandles="1" noChangeArrowheads="1" noChangeShapeType="1"/>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21C089CD-CA25-5DAA-3E64-3163594183DA}"/>
                </a:ext>
              </a:extLst>
            </p:cNvPr>
            <p:cNvSpPr>
              <a:spLocks noGrp="1" noRot="1" noMove="1" noResize="1" noEditPoints="1" noAdjustHandles="1" noChangeArrowheads="1" noChangeShapeType="1"/>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60FF89D9-C6C5-BF0E-C3C3-B8477C154BF2}"/>
                </a:ext>
              </a:extLst>
            </p:cNvPr>
            <p:cNvSpPr>
              <a:spLocks noGrp="1" noRot="1" noMove="1" noResize="1" noEditPoints="1" noAdjustHandles="1" noChangeArrowheads="1" noChangeShapeType="1"/>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C9F76D02-4A57-FE7A-F78D-B09260709D74}"/>
                </a:ext>
              </a:extLst>
            </p:cNvPr>
            <p:cNvSpPr>
              <a:spLocks noGrp="1" noRot="1" noMove="1" noResize="1" noEditPoints="1" noAdjustHandles="1" noChangeArrowheads="1" noChangeShapeType="1"/>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995A4BE5-81D1-56C1-D3BE-6F7A7A4799D9}"/>
                </a:ext>
              </a:extLst>
            </p:cNvPr>
            <p:cNvSpPr>
              <a:spLocks noGrp="1" noRot="1" noMove="1" noResize="1" noEditPoints="1" noAdjustHandles="1" noChangeArrowheads="1" noChangeShapeType="1"/>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035A383E-AD2A-F91A-B795-5C9E3CC47DBD}"/>
                </a:ext>
              </a:extLst>
            </p:cNvPr>
            <p:cNvSpPr>
              <a:spLocks noGrp="1" noRot="1" noMove="1" noResize="1" noEditPoints="1" noAdjustHandles="1" noChangeArrowheads="1" noChangeShapeType="1"/>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967E5841-C497-6B87-82F4-E2BCDDBDD01A}"/>
                </a:ext>
              </a:extLst>
            </p:cNvPr>
            <p:cNvSpPr>
              <a:spLocks noGrp="1" noRot="1" noMove="1" noResize="1" noEditPoints="1" noAdjustHandles="1" noChangeArrowheads="1" noChangeShapeType="1"/>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7370C3F5-7A0B-4027-6319-717229EA0C3E}"/>
                </a:ext>
              </a:extLst>
            </p:cNvPr>
            <p:cNvSpPr>
              <a:spLocks noGrp="1" noRot="1" noMove="1" noResize="1" noEditPoints="1" noAdjustHandles="1" noChangeArrowheads="1" noChangeShapeType="1"/>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58A1608E-A73F-DD63-421B-EA471C2AECCA}"/>
                </a:ext>
              </a:extLst>
            </p:cNvPr>
            <p:cNvSpPr>
              <a:spLocks noGrp="1" noRot="1" noMove="1" noResize="1" noEditPoints="1" noAdjustHandles="1" noChangeArrowheads="1" noChangeShapeType="1"/>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236B4ABB-1EEA-C139-07C0-116A42C1A05C}"/>
                </a:ext>
              </a:extLst>
            </p:cNvPr>
            <p:cNvSpPr>
              <a:spLocks noGrp="1" noRot="1" noMove="1" noResize="1" noEditPoints="1" noAdjustHandles="1" noChangeArrowheads="1" noChangeShapeType="1"/>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87D09A5F-D95A-B1D7-DCA7-27678E44801F}"/>
                </a:ext>
              </a:extLst>
            </p:cNvPr>
            <p:cNvSpPr>
              <a:spLocks noGrp="1" noRot="1" noMove="1" noResize="1" noEditPoints="1" noAdjustHandles="1" noChangeArrowheads="1" noChangeShapeType="1"/>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2047B525-34ED-C8E3-DC94-EB730DC3E2FC}"/>
                </a:ext>
              </a:extLst>
            </p:cNvPr>
            <p:cNvSpPr>
              <a:spLocks noGrp="1" noRot="1" noMove="1" noResize="1" noEditPoints="1" noAdjustHandles="1" noChangeArrowheads="1" noChangeShapeType="1"/>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8A3B3C7-8FE7-82FC-5DB8-FB44D55A5FDF}"/>
                </a:ext>
              </a:extLst>
            </p:cNvPr>
            <p:cNvSpPr>
              <a:spLocks noGrp="1" noRot="1" noMove="1" noResize="1" noEditPoints="1" noAdjustHandles="1" noChangeArrowheads="1" noChangeShapeType="1"/>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DE0FFB00-FFEC-D6D1-6202-FAB70192A172}"/>
                </a:ext>
              </a:extLst>
            </p:cNvPr>
            <p:cNvSpPr>
              <a:spLocks noGrp="1" noRot="1" noMove="1" noResize="1" noEditPoints="1" noAdjustHandles="1" noChangeArrowheads="1" noChangeShapeType="1"/>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D4D812A7-197A-E120-DF55-6F6226512716}"/>
                </a:ext>
              </a:extLst>
            </p:cNvPr>
            <p:cNvSpPr>
              <a:spLocks noGrp="1" noRot="1" noMove="1" noResize="1" noEditPoints="1" noAdjustHandles="1" noChangeArrowheads="1" noChangeShapeType="1"/>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7A0D47EC-005B-9159-3769-71EFE242839B}"/>
                </a:ext>
              </a:extLst>
            </p:cNvPr>
            <p:cNvSpPr>
              <a:spLocks noGrp="1" noRot="1" noMove="1" noResize="1" noEditPoints="1" noAdjustHandles="1" noChangeArrowheads="1" noChangeShapeType="1"/>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96522562-EEA3-942E-38C1-64AD9C186F55}"/>
                </a:ext>
              </a:extLst>
            </p:cNvPr>
            <p:cNvSpPr>
              <a:spLocks noGrp="1" noRot="1" noMove="1" noResize="1" noEditPoints="1" noAdjustHandles="1" noChangeArrowheads="1" noChangeShapeType="1"/>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3F98D5A7-991E-E59F-313B-E298D1DBBE25}"/>
                </a:ext>
              </a:extLst>
            </p:cNvPr>
            <p:cNvSpPr>
              <a:spLocks noGrp="1" noRot="1" noMove="1" noResize="1" noEditPoints="1" noAdjustHandles="1" noChangeArrowheads="1" noChangeShapeType="1"/>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0730618C-8914-07D5-83E4-B3B2D368DC8F}"/>
                </a:ext>
              </a:extLst>
            </p:cNvPr>
            <p:cNvSpPr>
              <a:spLocks noGrp="1" noRot="1" noMove="1" noResize="1" noEditPoints="1" noAdjustHandles="1" noChangeArrowheads="1" noChangeShapeType="1"/>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5F8A2103-B371-8DAE-558B-4C41B27A358D}"/>
                </a:ext>
              </a:extLst>
            </p:cNvPr>
            <p:cNvSpPr>
              <a:spLocks noGrp="1" noRot="1" noMove="1" noResize="1" noEditPoints="1" noAdjustHandles="1" noChangeArrowheads="1" noChangeShapeType="1"/>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4ACDAF94-C480-F166-AD26-F083D0EE2402}"/>
                </a:ext>
              </a:extLst>
            </p:cNvPr>
            <p:cNvSpPr>
              <a:spLocks noGrp="1" noRot="1" noMove="1" noResize="1" noEditPoints="1" noAdjustHandles="1" noChangeArrowheads="1" noChangeShapeType="1"/>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D5B48EDA-2F2A-7D9D-BA46-CC7F61368A4F}"/>
                </a:ext>
              </a:extLst>
            </p:cNvPr>
            <p:cNvSpPr>
              <a:spLocks noGrp="1" noRot="1" noMove="1" noResize="1" noEditPoints="1" noAdjustHandles="1" noChangeArrowheads="1" noChangeShapeType="1"/>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8A01F8A0-515E-F50D-E80B-DEA4C843FC34}"/>
                </a:ext>
              </a:extLst>
            </p:cNvPr>
            <p:cNvSpPr>
              <a:spLocks noGrp="1" noRot="1" noMove="1" noResize="1" noEditPoints="1" noAdjustHandles="1" noChangeArrowheads="1" noChangeShapeType="1"/>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4A86080-54A3-9602-68FF-8488015913D2}"/>
                </a:ext>
              </a:extLst>
            </p:cNvPr>
            <p:cNvSpPr>
              <a:spLocks noGrp="1" noRot="1" noMove="1" noResize="1" noEditPoints="1" noAdjustHandles="1" noChangeArrowheads="1" noChangeShapeType="1"/>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CA1799E3-FAD4-66A8-E24E-FD5A1775E07A}"/>
                </a:ext>
              </a:extLst>
            </p:cNvPr>
            <p:cNvSpPr>
              <a:spLocks noGrp="1" noRot="1" noMove="1" noResize="1" noEditPoints="1" noAdjustHandles="1" noChangeArrowheads="1" noChangeShapeType="1"/>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147ECA27-102D-282A-6F01-FC09DF622F31}"/>
                </a:ext>
              </a:extLst>
            </p:cNvPr>
            <p:cNvSpPr>
              <a:spLocks noGrp="1" noRot="1" noMove="1" noResize="1" noEditPoints="1" noAdjustHandles="1" noChangeArrowheads="1" noChangeShapeType="1"/>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01A2ADE9-E38D-A5A3-39D5-B06B7CC530F9}"/>
                </a:ext>
              </a:extLst>
            </p:cNvPr>
            <p:cNvSpPr>
              <a:spLocks noGrp="1" noRot="1" noMove="1" noResize="1" noEditPoints="1" noAdjustHandles="1" noChangeArrowheads="1" noChangeShapeType="1"/>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4833AA89-9019-55AA-EB51-CB8929815B22}"/>
                </a:ext>
              </a:extLst>
            </p:cNvPr>
            <p:cNvSpPr>
              <a:spLocks noGrp="1" noRot="1" noMove="1" noResize="1" noEditPoints="1" noAdjustHandles="1" noChangeArrowheads="1" noChangeShapeType="1"/>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D0C86527-1149-682C-5B34-41BDC54BD4B2}"/>
                </a:ext>
              </a:extLst>
            </p:cNvPr>
            <p:cNvSpPr>
              <a:spLocks noGrp="1" noRot="1" noMove="1" noResize="1" noEditPoints="1" noAdjustHandles="1" noChangeArrowheads="1" noChangeShapeType="1"/>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325A34E-8A03-738B-5E3B-0CDF900405C1}"/>
                </a:ext>
              </a:extLst>
            </p:cNvPr>
            <p:cNvSpPr>
              <a:spLocks noGrp="1" noRot="1" noMove="1" noResize="1" noEditPoints="1" noAdjustHandles="1" noChangeArrowheads="1" noChangeShapeType="1"/>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653DB057-2B54-8CD0-C251-11003F5F5177}"/>
                </a:ext>
              </a:extLst>
            </p:cNvPr>
            <p:cNvSpPr>
              <a:spLocks noGrp="1" noRot="1" noMove="1" noResize="1" noEditPoints="1" noAdjustHandles="1" noChangeArrowheads="1" noChangeShapeType="1"/>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D50E0A97-A966-4653-53CA-C0B9DB05635B}"/>
                </a:ext>
              </a:extLst>
            </p:cNvPr>
            <p:cNvSpPr>
              <a:spLocks noGrp="1" noRot="1" noMove="1" noResize="1" noEditPoints="1" noAdjustHandles="1" noChangeArrowheads="1" noChangeShapeType="1"/>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49F17A3D-9F24-7347-10D7-8FCE8B8009A5}"/>
                </a:ext>
              </a:extLst>
            </p:cNvPr>
            <p:cNvSpPr>
              <a:spLocks noGrp="1" noRot="1" noMove="1" noResize="1" noEditPoints="1" noAdjustHandles="1" noChangeArrowheads="1" noChangeShapeType="1"/>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23A51E2E-E246-DFE2-76CD-ECC3A53E4852}"/>
                </a:ext>
              </a:extLst>
            </p:cNvPr>
            <p:cNvSpPr>
              <a:spLocks noGrp="1" noRot="1" noMove="1" noResize="1" noEditPoints="1" noAdjustHandles="1" noChangeArrowheads="1" noChangeShapeType="1"/>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4BCC9174-6340-7CB1-88E7-AC716630D0D7}"/>
                </a:ext>
              </a:extLst>
            </p:cNvPr>
            <p:cNvSpPr>
              <a:spLocks noGrp="1" noRot="1" noMove="1" noResize="1" noEditPoints="1" noAdjustHandles="1" noChangeArrowheads="1" noChangeShapeType="1"/>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DA180EAD-6D70-95B0-D9EB-739C01816AFF}"/>
                </a:ext>
              </a:extLst>
            </p:cNvPr>
            <p:cNvSpPr>
              <a:spLocks noGrp="1" noRot="1" noMove="1" noResize="1" noEditPoints="1" noAdjustHandles="1" noChangeArrowheads="1" noChangeShapeType="1"/>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1AAFCA4B-120C-C18E-9C94-688719C0A7FC}"/>
                </a:ext>
              </a:extLst>
            </p:cNvPr>
            <p:cNvSpPr>
              <a:spLocks noGrp="1" noRot="1" noMove="1" noResize="1" noEditPoints="1" noAdjustHandles="1" noChangeArrowheads="1" noChangeShapeType="1"/>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A6B43E8-099D-4C19-D4AA-F0BAB9773243}"/>
                </a:ext>
              </a:extLst>
            </p:cNvPr>
            <p:cNvSpPr>
              <a:spLocks noGrp="1" noRot="1" noMove="1" noResize="1" noEditPoints="1" noAdjustHandles="1" noChangeArrowheads="1" noChangeShapeType="1"/>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399A0F5E-4ABA-10EF-333B-A5737B7F2D59}"/>
                </a:ext>
              </a:extLst>
            </p:cNvPr>
            <p:cNvSpPr>
              <a:spLocks noGrp="1" noRot="1" noMove="1" noResize="1" noEditPoints="1" noAdjustHandles="1" noChangeArrowheads="1" noChangeShapeType="1"/>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F4127A7F-97A4-259B-D535-D39AA2DC02DA}"/>
                </a:ext>
              </a:extLst>
            </p:cNvPr>
            <p:cNvSpPr>
              <a:spLocks noGrp="1" noRot="1" noMove="1" noResize="1" noEditPoints="1" noAdjustHandles="1" noChangeArrowheads="1" noChangeShapeType="1"/>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2A53643D-EDBA-372F-BFCD-EB35644171DC}"/>
                </a:ext>
              </a:extLst>
            </p:cNvPr>
            <p:cNvSpPr>
              <a:spLocks noGrp="1" noRot="1" noMove="1" noResize="1" noEditPoints="1" noAdjustHandles="1" noChangeArrowheads="1" noChangeShapeType="1"/>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09709727-1BE2-97AE-B382-5BA79133A9B7}"/>
                </a:ext>
              </a:extLst>
            </p:cNvPr>
            <p:cNvSpPr>
              <a:spLocks noGrp="1" noRot="1" noMove="1" noResize="1" noEditPoints="1" noAdjustHandles="1" noChangeArrowheads="1" noChangeShapeType="1"/>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0CB01F6D-5EA8-A6AC-B01D-F1D47D28E5A0}"/>
                </a:ext>
              </a:extLst>
            </p:cNvPr>
            <p:cNvSpPr>
              <a:spLocks noGrp="1" noRot="1" noMove="1" noResize="1" noEditPoints="1" noAdjustHandles="1" noChangeArrowheads="1" noChangeShapeType="1"/>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E89C081D-A49A-C289-F085-40C915E8B0A4}"/>
                </a:ext>
              </a:extLst>
            </p:cNvPr>
            <p:cNvSpPr>
              <a:spLocks noGrp="1" noRot="1" noMove="1" noResize="1" noEditPoints="1" noAdjustHandles="1" noChangeArrowheads="1" noChangeShapeType="1"/>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219B6F51-154C-C1FD-F5EC-1D24BCAC1809}"/>
                </a:ext>
              </a:extLst>
            </p:cNvPr>
            <p:cNvSpPr>
              <a:spLocks noGrp="1" noRot="1" noMove="1" noResize="1" noEditPoints="1" noAdjustHandles="1" noChangeArrowheads="1" noChangeShapeType="1"/>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EE2CDD1A-661D-C0AA-961E-9E85E2448EEA}"/>
                </a:ext>
              </a:extLst>
            </p:cNvPr>
            <p:cNvSpPr>
              <a:spLocks noGrp="1" noRot="1" noMove="1" noResize="1" noEditPoints="1" noAdjustHandles="1" noChangeArrowheads="1" noChangeShapeType="1"/>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48E3E190-9CAF-B5C6-F234-449523B59EED}"/>
                </a:ext>
              </a:extLst>
            </p:cNvPr>
            <p:cNvSpPr>
              <a:spLocks noGrp="1" noRot="1" noMove="1" noResize="1" noEditPoints="1" noAdjustHandles="1" noChangeArrowheads="1" noChangeShapeType="1"/>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9319054-5991-C35F-46BD-5A4D9EC9E075}"/>
                </a:ext>
              </a:extLst>
            </p:cNvPr>
            <p:cNvSpPr>
              <a:spLocks noGrp="1" noRot="1" noMove="1" noResize="1" noEditPoints="1" noAdjustHandles="1" noChangeArrowheads="1" noChangeShapeType="1"/>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8BFD0B34-28E7-D318-77FE-50392B9420FF}"/>
                </a:ext>
              </a:extLst>
            </p:cNvPr>
            <p:cNvSpPr>
              <a:spLocks noGrp="1" noRot="1" noMove="1" noResize="1" noEditPoints="1" noAdjustHandles="1" noChangeArrowheads="1" noChangeShapeType="1"/>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5C2220A5-B944-F028-FFE1-54ED1E637405}"/>
                </a:ext>
              </a:extLst>
            </p:cNvPr>
            <p:cNvSpPr>
              <a:spLocks noGrp="1" noRot="1" noMove="1" noResize="1" noEditPoints="1" noAdjustHandles="1" noChangeArrowheads="1" noChangeShapeType="1"/>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F82C7E9E-076C-AAA6-D81C-6A12D141786F}"/>
                </a:ext>
              </a:extLst>
            </p:cNvPr>
            <p:cNvSpPr>
              <a:spLocks noGrp="1" noRot="1" noMove="1" noResize="1" noEditPoints="1" noAdjustHandles="1" noChangeArrowheads="1" noChangeShapeType="1"/>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881610BE-0FFE-9B95-50FB-2C239E904DD5}"/>
                </a:ext>
              </a:extLst>
            </p:cNvPr>
            <p:cNvSpPr>
              <a:spLocks noGrp="1" noRot="1" noMove="1" noResize="1" noEditPoints="1" noAdjustHandles="1" noChangeArrowheads="1" noChangeShapeType="1"/>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FC72AE60-7ED4-D024-74DD-980BDBAAA3C5}"/>
                </a:ext>
              </a:extLst>
            </p:cNvPr>
            <p:cNvSpPr>
              <a:spLocks noGrp="1" noRot="1" noMove="1" noResize="1" noEditPoints="1" noAdjustHandles="1" noChangeArrowheads="1" noChangeShapeType="1"/>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6EADE81E-9CA0-A2A9-30BD-154FDFF2AC82}"/>
                </a:ext>
              </a:extLst>
            </p:cNvPr>
            <p:cNvSpPr>
              <a:spLocks noGrp="1" noRot="1" noMove="1" noResize="1" noEditPoints="1" noAdjustHandles="1" noChangeArrowheads="1" noChangeShapeType="1"/>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4D5D2728-46A0-1EFC-ECCE-39B7C590ABB3}"/>
                </a:ext>
              </a:extLst>
            </p:cNvPr>
            <p:cNvSpPr>
              <a:spLocks noGrp="1" noRot="1" noMove="1" noResize="1" noEditPoints="1" noAdjustHandles="1" noChangeArrowheads="1" noChangeShapeType="1"/>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6CE4FC91-2741-1225-EF7D-3C53B1BF4358}"/>
                </a:ext>
              </a:extLst>
            </p:cNvPr>
            <p:cNvSpPr>
              <a:spLocks noGrp="1" noRot="1" noMove="1" noResize="1" noEditPoints="1" noAdjustHandles="1" noChangeArrowheads="1" noChangeShapeType="1"/>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D7C29690-ADD7-FE89-A147-67C904100BCC}"/>
                </a:ext>
              </a:extLst>
            </p:cNvPr>
            <p:cNvSpPr>
              <a:spLocks noGrp="1" noRot="1" noMove="1" noResize="1" noEditPoints="1" noAdjustHandles="1" noChangeArrowheads="1" noChangeShapeType="1"/>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0FC18C5-CF7A-CF28-F7F8-90AAC990B0A0}"/>
                </a:ext>
              </a:extLst>
            </p:cNvPr>
            <p:cNvSpPr>
              <a:spLocks noGrp="1" noRot="1" noMove="1" noResize="1" noEditPoints="1" noAdjustHandles="1" noChangeArrowheads="1" noChangeShapeType="1"/>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BC7ADBAE-CE0A-93F8-1DE6-47FBA32E1621}"/>
                </a:ext>
              </a:extLst>
            </p:cNvPr>
            <p:cNvSpPr>
              <a:spLocks noGrp="1" noRot="1" noMove="1" noResize="1" noEditPoints="1" noAdjustHandles="1" noChangeArrowheads="1" noChangeShapeType="1"/>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2B3AC93E-6F2F-4B6B-77E5-3E2175263405}"/>
                </a:ext>
              </a:extLst>
            </p:cNvPr>
            <p:cNvSpPr>
              <a:spLocks noGrp="1" noRot="1" noMove="1" noResize="1" noEditPoints="1" noAdjustHandles="1" noChangeArrowheads="1" noChangeShapeType="1"/>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F0F54960-33B5-D8F2-135C-B05466EED42E}"/>
                </a:ext>
              </a:extLst>
            </p:cNvPr>
            <p:cNvSpPr>
              <a:spLocks noGrp="1" noRot="1" noMove="1" noResize="1" noEditPoints="1" noAdjustHandles="1" noChangeArrowheads="1" noChangeShapeType="1"/>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200F2BDC-FCA2-7D33-93D5-A46013F57BFF}"/>
                </a:ext>
              </a:extLst>
            </p:cNvPr>
            <p:cNvSpPr>
              <a:spLocks noGrp="1" noRot="1" noMove="1" noResize="1" noEditPoints="1" noAdjustHandles="1" noChangeArrowheads="1" noChangeShapeType="1"/>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0FCD8F6C-507F-139E-1A3D-93DC87B1146B}"/>
                </a:ext>
              </a:extLst>
            </p:cNvPr>
            <p:cNvSpPr>
              <a:spLocks noGrp="1" noRot="1" noMove="1" noResize="1" noEditPoints="1" noAdjustHandles="1" noChangeArrowheads="1" noChangeShapeType="1"/>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97A0F419-0A41-0263-669B-78083111CDAF}"/>
                </a:ext>
              </a:extLst>
            </p:cNvPr>
            <p:cNvSpPr>
              <a:spLocks noGrp="1" noRot="1" noMove="1" noResize="1" noEditPoints="1" noAdjustHandles="1" noChangeArrowheads="1" noChangeShapeType="1"/>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DAE4B22B-69F5-CD30-59F5-D46D779C6317}"/>
                </a:ext>
              </a:extLst>
            </p:cNvPr>
            <p:cNvSpPr>
              <a:spLocks noGrp="1" noRot="1" noMove="1" noResize="1" noEditPoints="1" noAdjustHandles="1" noChangeArrowheads="1" noChangeShapeType="1"/>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0D43BD18-69BE-410B-5744-CC3A634F14ED}"/>
                </a:ext>
              </a:extLst>
            </p:cNvPr>
            <p:cNvSpPr>
              <a:spLocks noGrp="1" noRot="1" noMove="1" noResize="1" noEditPoints="1" noAdjustHandles="1" noChangeArrowheads="1" noChangeShapeType="1"/>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4DC373AD-63EA-EEE8-F32D-469AD5068944}"/>
                </a:ext>
              </a:extLst>
            </p:cNvPr>
            <p:cNvSpPr>
              <a:spLocks noGrp="1" noRot="1" noMove="1" noResize="1" noEditPoints="1" noAdjustHandles="1" noChangeArrowheads="1" noChangeShapeType="1"/>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9FFBCF88-1F9F-9EE0-784B-9E68344A192C}"/>
                </a:ext>
              </a:extLst>
            </p:cNvPr>
            <p:cNvSpPr>
              <a:spLocks noGrp="1" noRot="1" noMove="1" noResize="1" noEditPoints="1" noAdjustHandles="1" noChangeArrowheads="1" noChangeShapeType="1"/>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BDA4BCE5-969D-4C33-D2E7-BC479D01D75D}"/>
                </a:ext>
              </a:extLst>
            </p:cNvPr>
            <p:cNvSpPr>
              <a:spLocks noGrp="1" noRot="1" noMove="1" noResize="1" noEditPoints="1" noAdjustHandles="1" noChangeArrowheads="1" noChangeShapeType="1"/>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E4BAA05A-F76B-FF90-22C6-E2692FDAEAD9}"/>
                </a:ext>
              </a:extLst>
            </p:cNvPr>
            <p:cNvSpPr>
              <a:spLocks noGrp="1" noRot="1" noMove="1" noResize="1" noEditPoints="1" noAdjustHandles="1" noChangeArrowheads="1" noChangeShapeType="1"/>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606DCE85-7BF1-6EF8-F766-D0DB34F830F4}"/>
                </a:ext>
              </a:extLst>
            </p:cNvPr>
            <p:cNvSpPr>
              <a:spLocks noGrp="1" noRot="1" noMove="1" noResize="1" noEditPoints="1" noAdjustHandles="1" noChangeArrowheads="1" noChangeShapeType="1"/>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4EDCA396-EBDB-D9A8-E338-57AE867B9B63}"/>
                </a:ext>
              </a:extLst>
            </p:cNvPr>
            <p:cNvSpPr>
              <a:spLocks noGrp="1" noRot="1" noMove="1" noResize="1" noEditPoints="1" noAdjustHandles="1" noChangeArrowheads="1" noChangeShapeType="1"/>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2B34AF83-D96E-0D6A-3101-900DD24F9C25}"/>
                </a:ext>
              </a:extLst>
            </p:cNvPr>
            <p:cNvSpPr>
              <a:spLocks noGrp="1" noRot="1" noMove="1" noResize="1" noEditPoints="1" noAdjustHandles="1" noChangeArrowheads="1" noChangeShapeType="1"/>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3FC842E9-B41A-1432-59CB-93ED8532A96F}"/>
                </a:ext>
              </a:extLst>
            </p:cNvPr>
            <p:cNvSpPr>
              <a:spLocks noGrp="1" noRot="1" noMove="1" noResize="1" noEditPoints="1" noAdjustHandles="1" noChangeArrowheads="1" noChangeShapeType="1"/>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5C41766D-2768-2AB0-9D25-A68D17F59719}"/>
                </a:ext>
              </a:extLst>
            </p:cNvPr>
            <p:cNvSpPr>
              <a:spLocks noGrp="1" noRot="1" noMove="1" noResize="1" noEditPoints="1" noAdjustHandles="1" noChangeArrowheads="1" noChangeShapeType="1"/>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07292267-47F0-91FD-CF61-BC7532D1E201}"/>
                </a:ext>
              </a:extLst>
            </p:cNvPr>
            <p:cNvSpPr>
              <a:spLocks noGrp="1" noRot="1" noMove="1" noResize="1" noEditPoints="1" noAdjustHandles="1" noChangeArrowheads="1" noChangeShapeType="1"/>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0884DC34-B1EA-F3FE-8BC8-6ABD2AB3067F}"/>
                </a:ext>
              </a:extLst>
            </p:cNvPr>
            <p:cNvSpPr>
              <a:spLocks noGrp="1" noRot="1" noMove="1" noResize="1" noEditPoints="1" noAdjustHandles="1" noChangeArrowheads="1" noChangeShapeType="1"/>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0AEB310D-A8AD-25CB-509A-A8D64508F9B4}"/>
                </a:ext>
              </a:extLst>
            </p:cNvPr>
            <p:cNvSpPr>
              <a:spLocks noGrp="1" noRot="1" noMove="1" noResize="1" noEditPoints="1" noAdjustHandles="1" noChangeArrowheads="1" noChangeShapeType="1"/>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03A9A708-F7E0-D041-6E5B-4E0416F6F758}"/>
                </a:ext>
              </a:extLst>
            </p:cNvPr>
            <p:cNvSpPr>
              <a:spLocks noGrp="1" noRot="1" noMove="1" noResize="1" noEditPoints="1" noAdjustHandles="1" noChangeArrowheads="1" noChangeShapeType="1"/>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4AB10E45-1CC3-6E3B-94FD-60D0AD9CB6ED}"/>
                </a:ext>
              </a:extLst>
            </p:cNvPr>
            <p:cNvSpPr>
              <a:spLocks noGrp="1" noRot="1" noMove="1" noResize="1" noEditPoints="1" noAdjustHandles="1" noChangeArrowheads="1" noChangeShapeType="1"/>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0EE5136C-B59B-C8C0-D68B-4C89D7034936}"/>
                </a:ext>
              </a:extLst>
            </p:cNvPr>
            <p:cNvSpPr>
              <a:spLocks noGrp="1" noRot="1" noMove="1" noResize="1" noEditPoints="1" noAdjustHandles="1" noChangeArrowheads="1" noChangeShapeType="1"/>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EA58249B-50D2-3668-34B4-D9B74F6ECC18}"/>
                </a:ext>
              </a:extLst>
            </p:cNvPr>
            <p:cNvSpPr>
              <a:spLocks noGrp="1" noRot="1" noMove="1" noResize="1" noEditPoints="1" noAdjustHandles="1" noChangeArrowheads="1" noChangeShapeType="1"/>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F9962285-7ADA-D26D-8D5D-776A27DBAD11}"/>
                </a:ext>
              </a:extLst>
            </p:cNvPr>
            <p:cNvSpPr>
              <a:spLocks noGrp="1" noRot="1" noMove="1" noResize="1" noEditPoints="1" noAdjustHandles="1" noChangeArrowheads="1" noChangeShapeType="1"/>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A682C758-1AAE-DCE4-FD12-B5748B3491BE}"/>
                </a:ext>
              </a:extLst>
            </p:cNvPr>
            <p:cNvSpPr>
              <a:spLocks noGrp="1" noRot="1" noMove="1" noResize="1" noEditPoints="1" noAdjustHandles="1" noChangeArrowheads="1" noChangeShapeType="1"/>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B4B02DDB-0A34-A8F6-A3A5-CFB22C1A621D}"/>
                </a:ext>
              </a:extLst>
            </p:cNvPr>
            <p:cNvSpPr>
              <a:spLocks noGrp="1" noRot="1" noMove="1" noResize="1" noEditPoints="1" noAdjustHandles="1" noChangeArrowheads="1" noChangeShapeType="1"/>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1C33476D-FB28-0FEA-3B7D-0EFA1D2DE745}"/>
                </a:ext>
              </a:extLst>
            </p:cNvPr>
            <p:cNvSpPr>
              <a:spLocks noGrp="1" noRot="1" noMove="1" noResize="1" noEditPoints="1" noAdjustHandles="1" noChangeArrowheads="1" noChangeShapeType="1"/>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5490E746-7686-6E84-ADC3-DBD9E18E2CED}"/>
                </a:ext>
              </a:extLst>
            </p:cNvPr>
            <p:cNvSpPr>
              <a:spLocks noGrp="1" noRot="1" noMove="1" noResize="1" noEditPoints="1" noAdjustHandles="1" noChangeArrowheads="1" noChangeShapeType="1"/>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69F8FF42-F5F4-C441-2298-48A1C79DE86A}"/>
                </a:ext>
              </a:extLst>
            </p:cNvPr>
            <p:cNvSpPr>
              <a:spLocks noGrp="1" noRot="1" noMove="1" noResize="1" noEditPoints="1" noAdjustHandles="1" noChangeArrowheads="1" noChangeShapeType="1"/>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C340300C-8286-B9E4-4DAD-03F8E7BED9D4}"/>
                </a:ext>
              </a:extLst>
            </p:cNvPr>
            <p:cNvSpPr>
              <a:spLocks noGrp="1" noRot="1" noMove="1" noResize="1" noEditPoints="1" noAdjustHandles="1" noChangeArrowheads="1" noChangeShapeType="1"/>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EA97F2A5-537E-E220-7993-F18964DBA9DA}"/>
                </a:ext>
              </a:extLst>
            </p:cNvPr>
            <p:cNvSpPr>
              <a:spLocks noGrp="1" noRot="1" noMove="1" noResize="1" noEditPoints="1" noAdjustHandles="1" noChangeArrowheads="1" noChangeShapeType="1"/>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0322F48E-E98A-15ED-4220-280C950C8CC2}"/>
                </a:ext>
              </a:extLst>
            </p:cNvPr>
            <p:cNvSpPr>
              <a:spLocks noGrp="1" noRot="1" noMove="1" noResize="1" noEditPoints="1" noAdjustHandles="1" noChangeArrowheads="1" noChangeShapeType="1"/>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F58EA5C2-1E56-9ACD-4239-16F71A094373}"/>
                </a:ext>
              </a:extLst>
            </p:cNvPr>
            <p:cNvSpPr>
              <a:spLocks noGrp="1" noRot="1" noMove="1" noResize="1" noEditPoints="1" noAdjustHandles="1" noChangeArrowheads="1" noChangeShapeType="1"/>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85099798-5793-8702-DD70-343C8F93C17F}"/>
                </a:ext>
              </a:extLst>
            </p:cNvPr>
            <p:cNvSpPr>
              <a:spLocks noGrp="1" noRot="1" noMove="1" noResize="1" noEditPoints="1" noAdjustHandles="1" noChangeArrowheads="1" noChangeShapeType="1"/>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895944C1-2476-42BF-8A22-B8CB89A5928F}"/>
                </a:ext>
              </a:extLst>
            </p:cNvPr>
            <p:cNvSpPr>
              <a:spLocks noGrp="1" noRot="1" noMove="1" noResize="1" noEditPoints="1" noAdjustHandles="1" noChangeArrowheads="1" noChangeShapeType="1"/>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9D437EB3-84BE-F57C-23A4-8B37526CF6CC}"/>
                </a:ext>
              </a:extLst>
            </p:cNvPr>
            <p:cNvSpPr>
              <a:spLocks noGrp="1" noRot="1" noMove="1" noResize="1" noEditPoints="1" noAdjustHandles="1" noChangeArrowheads="1" noChangeShapeType="1"/>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E0A940AE-2C3C-DF30-252D-E1A7CEB751F4}"/>
                </a:ext>
              </a:extLst>
            </p:cNvPr>
            <p:cNvSpPr>
              <a:spLocks noGrp="1" noRot="1" noMove="1" noResize="1" noEditPoints="1" noAdjustHandles="1" noChangeArrowheads="1" noChangeShapeType="1"/>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72086A1E-E4DF-A45D-104B-00149B95AFA6}"/>
                </a:ext>
              </a:extLst>
            </p:cNvPr>
            <p:cNvSpPr>
              <a:spLocks noGrp="1" noRot="1" noMove="1" noResize="1" noEditPoints="1" noAdjustHandles="1" noChangeArrowheads="1" noChangeShapeType="1"/>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95BAFB82-0B07-1EF6-0722-970C67CB2ED0}"/>
                </a:ext>
              </a:extLst>
            </p:cNvPr>
            <p:cNvSpPr>
              <a:spLocks noGrp="1" noRot="1" noMove="1" noResize="1" noEditPoints="1" noAdjustHandles="1" noChangeArrowheads="1" noChangeShapeType="1"/>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F2494336-F1C5-8C7C-7945-DC023F6BF3D4}"/>
                </a:ext>
              </a:extLst>
            </p:cNvPr>
            <p:cNvSpPr>
              <a:spLocks noGrp="1" noRot="1" noMove="1" noResize="1" noEditPoints="1" noAdjustHandles="1" noChangeArrowheads="1" noChangeShapeType="1"/>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EF06CC6D-BBAB-C922-E82E-16796AF61EE1}"/>
                </a:ext>
              </a:extLst>
            </p:cNvPr>
            <p:cNvSpPr>
              <a:spLocks noGrp="1" noRot="1" noMove="1" noResize="1" noEditPoints="1" noAdjustHandles="1" noChangeArrowheads="1" noChangeShapeType="1"/>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9F4440A7-64F6-407A-7E80-0FD5D8964ACE}"/>
                </a:ext>
              </a:extLst>
            </p:cNvPr>
            <p:cNvSpPr>
              <a:spLocks noGrp="1" noRot="1" noMove="1" noResize="1" noEditPoints="1" noAdjustHandles="1" noChangeArrowheads="1" noChangeShapeType="1"/>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A083BD59-9F41-89BF-4DB3-34533E2D4FA0}"/>
                </a:ext>
              </a:extLst>
            </p:cNvPr>
            <p:cNvSpPr>
              <a:spLocks noGrp="1" noRot="1" noMove="1" noResize="1" noEditPoints="1" noAdjustHandles="1" noChangeArrowheads="1" noChangeShapeType="1"/>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3ACD02F3-3C85-DC9A-EB2F-2D7BF66468B5}"/>
                </a:ext>
              </a:extLst>
            </p:cNvPr>
            <p:cNvSpPr>
              <a:spLocks noGrp="1" noRot="1" noMove="1" noResize="1" noEditPoints="1" noAdjustHandles="1" noChangeArrowheads="1" noChangeShapeType="1"/>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316E334B-5857-7CFF-ECBA-5562F211ED51}"/>
                </a:ext>
              </a:extLst>
            </p:cNvPr>
            <p:cNvSpPr>
              <a:spLocks noGrp="1" noRot="1" noMove="1" noResize="1" noEditPoints="1" noAdjustHandles="1" noChangeArrowheads="1" noChangeShapeType="1"/>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0C234B7-1309-E702-41FD-496BAE16D7A2}"/>
                </a:ext>
              </a:extLst>
            </p:cNvPr>
            <p:cNvSpPr>
              <a:spLocks noGrp="1" noRot="1" noMove="1" noResize="1" noEditPoints="1" noAdjustHandles="1" noChangeArrowheads="1" noChangeShapeType="1"/>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13537505-08FA-01F3-4D60-ED331613CB92}"/>
                </a:ext>
              </a:extLst>
            </p:cNvPr>
            <p:cNvSpPr>
              <a:spLocks noGrp="1" noRot="1" noMove="1" noResize="1" noEditPoints="1" noAdjustHandles="1" noChangeArrowheads="1" noChangeShapeType="1"/>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19BC0E02-1D51-1A83-67CA-5DA2763842FC}"/>
                </a:ext>
              </a:extLst>
            </p:cNvPr>
            <p:cNvSpPr>
              <a:spLocks noGrp="1" noRot="1" noMove="1" noResize="1" noEditPoints="1" noAdjustHandles="1" noChangeArrowheads="1" noChangeShapeType="1"/>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BF74E024-7180-6FE5-4277-1060EFED9C7C}"/>
                </a:ext>
              </a:extLst>
            </p:cNvPr>
            <p:cNvSpPr>
              <a:spLocks noGrp="1" noRot="1" noMove="1" noResize="1" noEditPoints="1" noAdjustHandles="1" noChangeArrowheads="1" noChangeShapeType="1"/>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AB8703EF-9453-D624-BB74-60484576307A}"/>
                </a:ext>
              </a:extLst>
            </p:cNvPr>
            <p:cNvSpPr>
              <a:spLocks noGrp="1" noRot="1" noMove="1" noResize="1" noEditPoints="1" noAdjustHandles="1" noChangeArrowheads="1" noChangeShapeType="1"/>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BD3F381A-3BA5-6846-3114-56217CA3F7AF}"/>
                </a:ext>
              </a:extLst>
            </p:cNvPr>
            <p:cNvSpPr>
              <a:spLocks noGrp="1" noRot="1" noMove="1" noResize="1" noEditPoints="1" noAdjustHandles="1" noChangeArrowheads="1" noChangeShapeType="1"/>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C48DE764-3409-751B-A865-4FFE5E2FEDB1}"/>
                </a:ext>
              </a:extLst>
            </p:cNvPr>
            <p:cNvSpPr>
              <a:spLocks noGrp="1" noRot="1" noMove="1" noResize="1" noEditPoints="1" noAdjustHandles="1" noChangeArrowheads="1" noChangeShapeType="1"/>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4FD89177-3666-CFF8-8542-D6CAFB1FE65C}"/>
                </a:ext>
              </a:extLst>
            </p:cNvPr>
            <p:cNvSpPr>
              <a:spLocks noGrp="1" noRot="1" noMove="1" noResize="1" noEditPoints="1" noAdjustHandles="1" noChangeArrowheads="1" noChangeShapeType="1"/>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1FD53DA3-795A-ACC8-7CD5-70F0C9125186}"/>
                </a:ext>
              </a:extLst>
            </p:cNvPr>
            <p:cNvSpPr>
              <a:spLocks noGrp="1" noRot="1" noMove="1" noResize="1" noEditPoints="1" noAdjustHandles="1" noChangeArrowheads="1" noChangeShapeType="1"/>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175266AD-1D0A-BE82-62B0-8B5FFC3B932B}"/>
                </a:ext>
              </a:extLst>
            </p:cNvPr>
            <p:cNvSpPr>
              <a:spLocks noGrp="1" noRot="1" noMove="1" noResize="1" noEditPoints="1" noAdjustHandles="1" noChangeArrowheads="1" noChangeShapeType="1"/>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E7855A6-3D12-B64F-F6F0-7DB778B3F13C}"/>
                </a:ext>
              </a:extLst>
            </p:cNvPr>
            <p:cNvSpPr>
              <a:spLocks noGrp="1" noRot="1" noMove="1" noResize="1" noEditPoints="1" noAdjustHandles="1" noChangeArrowheads="1" noChangeShapeType="1"/>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B8C798C2-8753-C495-C0A9-B70CCA29E5FC}"/>
                </a:ext>
              </a:extLst>
            </p:cNvPr>
            <p:cNvSpPr>
              <a:spLocks noGrp="1" noRot="1" noMove="1" noResize="1" noEditPoints="1" noAdjustHandles="1" noChangeArrowheads="1" noChangeShapeType="1"/>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2B50B9A9-0834-395F-07BC-F8A5D292E44B}"/>
                </a:ext>
              </a:extLst>
            </p:cNvPr>
            <p:cNvSpPr>
              <a:spLocks noGrp="1" noRot="1" noMove="1" noResize="1" noEditPoints="1" noAdjustHandles="1" noChangeArrowheads="1" noChangeShapeType="1"/>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25475B20-5659-154A-FFEA-59D4738F2A50}"/>
                </a:ext>
              </a:extLst>
            </p:cNvPr>
            <p:cNvSpPr>
              <a:spLocks noGrp="1" noRot="1" noMove="1" noResize="1" noEditPoints="1" noAdjustHandles="1" noChangeArrowheads="1" noChangeShapeType="1"/>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C62E3382-15C6-1460-A048-24EE9381BC8A}"/>
                </a:ext>
              </a:extLst>
            </p:cNvPr>
            <p:cNvSpPr>
              <a:spLocks noGrp="1" noRot="1" noMove="1" noResize="1" noEditPoints="1" noAdjustHandles="1" noChangeArrowheads="1" noChangeShapeType="1"/>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C4CD9211-A909-936C-5301-95A79370889A}"/>
                </a:ext>
              </a:extLst>
            </p:cNvPr>
            <p:cNvSpPr>
              <a:spLocks noGrp="1" noRot="1" noMove="1" noResize="1" noEditPoints="1" noAdjustHandles="1" noChangeArrowheads="1" noChangeShapeType="1"/>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270BCD4B-652B-8400-2ECD-B4D604CCE7F0}"/>
                </a:ext>
              </a:extLst>
            </p:cNvPr>
            <p:cNvSpPr>
              <a:spLocks noGrp="1" noRot="1" noMove="1" noResize="1" noEditPoints="1" noAdjustHandles="1" noChangeArrowheads="1" noChangeShapeType="1"/>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7B433087-ABE7-722E-1AA8-7FF1EF336E0B}"/>
                </a:ext>
              </a:extLst>
            </p:cNvPr>
            <p:cNvSpPr>
              <a:spLocks noGrp="1" noRot="1" noMove="1" noResize="1" noEditPoints="1" noAdjustHandles="1" noChangeArrowheads="1" noChangeShapeType="1"/>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2BAAE5C4-27D5-913B-7783-7DCF5F77D618}"/>
                </a:ext>
              </a:extLst>
            </p:cNvPr>
            <p:cNvSpPr>
              <a:spLocks noGrp="1" noRot="1" noMove="1" noResize="1" noEditPoints="1" noAdjustHandles="1" noChangeArrowheads="1" noChangeShapeType="1"/>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A8033DFE-A88F-8237-DA60-85D7D16C7A4F}"/>
                </a:ext>
              </a:extLst>
            </p:cNvPr>
            <p:cNvSpPr>
              <a:spLocks noGrp="1" noRot="1" noMove="1" noResize="1" noEditPoints="1" noAdjustHandles="1" noChangeArrowheads="1" noChangeShapeType="1"/>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ECCFB17C-6D06-29FE-06F6-BBBADCE32E5B}"/>
                </a:ext>
              </a:extLst>
            </p:cNvPr>
            <p:cNvSpPr>
              <a:spLocks noGrp="1" noRot="1" noMove="1" noResize="1" noEditPoints="1" noAdjustHandles="1" noChangeArrowheads="1" noChangeShapeType="1"/>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4C547AE9-6CCA-FB6D-E65A-4BD383CB0C6E}"/>
                </a:ext>
              </a:extLst>
            </p:cNvPr>
            <p:cNvSpPr>
              <a:spLocks noGrp="1" noRot="1" noMove="1" noResize="1" noEditPoints="1" noAdjustHandles="1" noChangeArrowheads="1" noChangeShapeType="1"/>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443663B8-58D2-EF83-A15D-9AF9E90FDDD3}"/>
                </a:ext>
              </a:extLst>
            </p:cNvPr>
            <p:cNvSpPr>
              <a:spLocks noGrp="1" noRot="1" noMove="1" noResize="1" noEditPoints="1" noAdjustHandles="1" noChangeArrowheads="1" noChangeShapeType="1"/>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F39BDBF4-37BA-5549-9216-688B3BDE46ED}"/>
                </a:ext>
              </a:extLst>
            </p:cNvPr>
            <p:cNvSpPr>
              <a:spLocks noGrp="1" noRot="1" noMove="1" noResize="1" noEditPoints="1" noAdjustHandles="1" noChangeArrowheads="1" noChangeShapeType="1"/>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B9959809-2531-4004-3C32-0889E166952D}"/>
                </a:ext>
              </a:extLst>
            </p:cNvPr>
            <p:cNvSpPr>
              <a:spLocks noGrp="1" noRot="1" noMove="1" noResize="1" noEditPoints="1" noAdjustHandles="1" noChangeArrowheads="1" noChangeShapeType="1"/>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99B6F1B2-BAA3-C69D-4048-A76765E36CB5}"/>
                </a:ext>
              </a:extLst>
            </p:cNvPr>
            <p:cNvSpPr>
              <a:spLocks noGrp="1" noRot="1" noMove="1" noResize="1" noEditPoints="1" noAdjustHandles="1" noChangeArrowheads="1" noChangeShapeType="1"/>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grpSp>
      <p:sp>
        <p:nvSpPr>
          <p:cNvPr id="2" name="Text Placeholder"/>
          <p:cNvSpPr>
            <a:spLocks noGrp="1"/>
          </p:cNvSpPr>
          <p:nvPr>
            <p:ph type="title" hasCustomPrompt="1"/>
          </p:nvPr>
        </p:nvSpPr>
        <p:spPr>
          <a:xfrm>
            <a:off x="762000" y="2667000"/>
            <a:ext cx="10668000" cy="1526117"/>
          </a:xfrm>
        </p:spPr>
        <p:txBody>
          <a:bodyPr/>
          <a:lstStyle>
            <a:lvl1pPr algn="ctr">
              <a:defRPr sz="3733"/>
            </a:lvl1pPr>
          </a:lstStyle>
          <a:p>
            <a:r>
              <a:rPr lang="en-US"/>
              <a:t>Edit text</a:t>
            </a:r>
            <a:endParaRPr lang="en-GB"/>
          </a:p>
        </p:txBody>
      </p:sp>
    </p:spTree>
    <p:extLst>
      <p:ext uri="{BB962C8B-B14F-4D97-AF65-F5344CB8AC3E}">
        <p14:creationId xmlns:p14="http://schemas.microsoft.com/office/powerpoint/2010/main" val="47627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tatic_Pixel_5">
    <p:spTree>
      <p:nvGrpSpPr>
        <p:cNvPr id="1" name=""/>
        <p:cNvGrpSpPr/>
        <p:nvPr/>
      </p:nvGrpSpPr>
      <p:grpSpPr>
        <a:xfrm>
          <a:off x="0" y="0"/>
          <a:ext cx="0" cy="0"/>
          <a:chOff x="0" y="0"/>
          <a:chExt cx="0" cy="0"/>
        </a:xfrm>
      </p:grpSpPr>
      <p:grpSp>
        <p:nvGrpSpPr>
          <p:cNvPr id="149" name="Pixel">
            <a:extLst>
              <a:ext uri="{FF2B5EF4-FFF2-40B4-BE49-F238E27FC236}">
                <a16:creationId xmlns:a16="http://schemas.microsoft.com/office/drawing/2014/main" id="{2C8D3C27-B882-DE66-20FF-CDF4D0406085}"/>
              </a:ext>
            </a:extLst>
          </p:cNvPr>
          <p:cNvGrpSpPr>
            <a:grpSpLocks noGrp="1" noUngrp="1" noRot="1" noMove="1" noResize="1"/>
          </p:cNvGrpSpPr>
          <p:nvPr/>
        </p:nvGrpSpPr>
        <p:grpSpPr>
          <a:xfrm>
            <a:off x="0" y="0"/>
            <a:ext cx="12192000" cy="6858000"/>
            <a:chOff x="0" y="0"/>
            <a:chExt cx="9144000" cy="5143500"/>
          </a:xfrm>
          <a:solidFill>
            <a:schemeClr val="bg1"/>
          </a:solidFill>
        </p:grpSpPr>
        <p:sp>
          <p:nvSpPr>
            <p:cNvPr id="151" name="Freeform: Shape 150">
              <a:extLst>
                <a:ext uri="{FF2B5EF4-FFF2-40B4-BE49-F238E27FC236}">
                  <a16:creationId xmlns:a16="http://schemas.microsoft.com/office/drawing/2014/main" id="{0C347E4E-2B9B-6030-E41E-E49B22BDC63B}"/>
                </a:ext>
              </a:extLst>
            </p:cNvPr>
            <p:cNvSpPr>
              <a:spLocks noGrp="1" noRot="1" noMove="1" noResize="1" noEditPoints="1" noAdjustHandles="1" noChangeArrowheads="1" noChangeShapeType="1"/>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5583D2F6-C873-B13D-8BB8-1BDFCF0EB3ED}"/>
                </a:ext>
              </a:extLst>
            </p:cNvPr>
            <p:cNvSpPr>
              <a:spLocks noGrp="1" noRot="1" noMove="1" noResize="1" noEditPoints="1" noAdjustHandles="1" noChangeArrowheads="1" noChangeShapeType="1"/>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12067B42-A43D-F04A-1035-2359BA4E33D3}"/>
                </a:ext>
              </a:extLst>
            </p:cNvPr>
            <p:cNvSpPr>
              <a:spLocks noGrp="1" noRot="1" noMove="1" noResize="1" noEditPoints="1" noAdjustHandles="1" noChangeArrowheads="1" noChangeShapeType="1"/>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5239ED42-95C7-ED97-D75D-4C1FCBEE9245}"/>
                </a:ext>
              </a:extLst>
            </p:cNvPr>
            <p:cNvSpPr>
              <a:spLocks noGrp="1" noRot="1" noMove="1" noResize="1" noEditPoints="1" noAdjustHandles="1" noChangeArrowheads="1" noChangeShapeType="1"/>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23B95DB1-F5B7-3F25-A77C-0DE2BB11E787}"/>
                </a:ext>
              </a:extLst>
            </p:cNvPr>
            <p:cNvSpPr>
              <a:spLocks noGrp="1" noRot="1" noMove="1" noResize="1" noEditPoints="1" noAdjustHandles="1" noChangeArrowheads="1" noChangeShapeType="1"/>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AFEF9290-7784-DEA4-6204-45AD260323E3}"/>
                </a:ext>
              </a:extLst>
            </p:cNvPr>
            <p:cNvSpPr>
              <a:spLocks noGrp="1" noRot="1" noMove="1" noResize="1" noEditPoints="1" noAdjustHandles="1" noChangeArrowheads="1" noChangeShapeType="1"/>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5A70DFDE-4294-4FA0-DF46-6D13671C2A7F}"/>
                </a:ext>
              </a:extLst>
            </p:cNvPr>
            <p:cNvSpPr>
              <a:spLocks noGrp="1" noRot="1" noMove="1" noResize="1" noEditPoints="1" noAdjustHandles="1" noChangeArrowheads="1" noChangeShapeType="1"/>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82F01915-0C7F-70A2-B1D5-9087B9B46FF9}"/>
                </a:ext>
              </a:extLst>
            </p:cNvPr>
            <p:cNvSpPr>
              <a:spLocks noGrp="1" noRot="1" noMove="1" noResize="1" noEditPoints="1" noAdjustHandles="1" noChangeArrowheads="1" noChangeShapeType="1"/>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26F7AD30-C0E7-3563-A483-12A17E5A5AAB}"/>
                </a:ext>
              </a:extLst>
            </p:cNvPr>
            <p:cNvSpPr>
              <a:spLocks noGrp="1" noRot="1" noMove="1" noResize="1" noEditPoints="1" noAdjustHandles="1" noChangeArrowheads="1" noChangeShapeType="1"/>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13966866-8A22-B4D4-5261-EEFE32E0374E}"/>
                </a:ext>
              </a:extLst>
            </p:cNvPr>
            <p:cNvSpPr>
              <a:spLocks noGrp="1" noRot="1" noMove="1" noResize="1" noEditPoints="1" noAdjustHandles="1" noChangeArrowheads="1" noChangeShapeType="1"/>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C8B6025E-8092-14F4-5DA0-5D50AC73E0BF}"/>
                </a:ext>
              </a:extLst>
            </p:cNvPr>
            <p:cNvSpPr>
              <a:spLocks noGrp="1" noRot="1" noMove="1" noResize="1" noEditPoints="1" noAdjustHandles="1" noChangeArrowheads="1" noChangeShapeType="1"/>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28B3C23F-F0CE-2AA9-67BC-FF0E31C72F82}"/>
                </a:ext>
              </a:extLst>
            </p:cNvPr>
            <p:cNvSpPr>
              <a:spLocks noGrp="1" noRot="1" noMove="1" noResize="1" noEditPoints="1" noAdjustHandles="1" noChangeArrowheads="1" noChangeShapeType="1"/>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BE891C70-0805-07B6-3AE7-8216116ABC0A}"/>
                </a:ext>
              </a:extLst>
            </p:cNvPr>
            <p:cNvSpPr>
              <a:spLocks noGrp="1" noRot="1" noMove="1" noResize="1" noEditPoints="1" noAdjustHandles="1" noChangeArrowheads="1" noChangeShapeType="1"/>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A7B0E3AE-F021-5D96-150C-9CF805A2CB4C}"/>
                </a:ext>
              </a:extLst>
            </p:cNvPr>
            <p:cNvSpPr>
              <a:spLocks noGrp="1" noRot="1" noMove="1" noResize="1" noEditPoints="1" noAdjustHandles="1" noChangeArrowheads="1" noChangeShapeType="1"/>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C54DC159-8C0C-4949-E5D4-210B7A947B31}"/>
                </a:ext>
              </a:extLst>
            </p:cNvPr>
            <p:cNvSpPr>
              <a:spLocks noGrp="1" noRot="1" noMove="1" noResize="1" noEditPoints="1" noAdjustHandles="1" noChangeArrowheads="1" noChangeShapeType="1"/>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21C089CD-CA25-5DAA-3E64-3163594183DA}"/>
                </a:ext>
              </a:extLst>
            </p:cNvPr>
            <p:cNvSpPr>
              <a:spLocks noGrp="1" noRot="1" noMove="1" noResize="1" noEditPoints="1" noAdjustHandles="1" noChangeArrowheads="1" noChangeShapeType="1"/>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60FF89D9-C6C5-BF0E-C3C3-B8477C154BF2}"/>
                </a:ext>
              </a:extLst>
            </p:cNvPr>
            <p:cNvSpPr>
              <a:spLocks noGrp="1" noRot="1" noMove="1" noResize="1" noEditPoints="1" noAdjustHandles="1" noChangeArrowheads="1" noChangeShapeType="1"/>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C9F76D02-4A57-FE7A-F78D-B09260709D74}"/>
                </a:ext>
              </a:extLst>
            </p:cNvPr>
            <p:cNvSpPr>
              <a:spLocks noGrp="1" noRot="1" noMove="1" noResize="1" noEditPoints="1" noAdjustHandles="1" noChangeArrowheads="1" noChangeShapeType="1"/>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995A4BE5-81D1-56C1-D3BE-6F7A7A4799D9}"/>
                </a:ext>
              </a:extLst>
            </p:cNvPr>
            <p:cNvSpPr>
              <a:spLocks noGrp="1" noRot="1" noMove="1" noResize="1" noEditPoints="1" noAdjustHandles="1" noChangeArrowheads="1" noChangeShapeType="1"/>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035A383E-AD2A-F91A-B795-5C9E3CC47DBD}"/>
                </a:ext>
              </a:extLst>
            </p:cNvPr>
            <p:cNvSpPr>
              <a:spLocks noGrp="1" noRot="1" noMove="1" noResize="1" noEditPoints="1" noAdjustHandles="1" noChangeArrowheads="1" noChangeShapeType="1"/>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967E5841-C497-6B87-82F4-E2BCDDBDD01A}"/>
                </a:ext>
              </a:extLst>
            </p:cNvPr>
            <p:cNvSpPr>
              <a:spLocks noGrp="1" noRot="1" noMove="1" noResize="1" noEditPoints="1" noAdjustHandles="1" noChangeArrowheads="1" noChangeShapeType="1"/>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7370C3F5-7A0B-4027-6319-717229EA0C3E}"/>
                </a:ext>
              </a:extLst>
            </p:cNvPr>
            <p:cNvSpPr>
              <a:spLocks noGrp="1" noRot="1" noMove="1" noResize="1" noEditPoints="1" noAdjustHandles="1" noChangeArrowheads="1" noChangeShapeType="1"/>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58A1608E-A73F-DD63-421B-EA471C2AECCA}"/>
                </a:ext>
              </a:extLst>
            </p:cNvPr>
            <p:cNvSpPr>
              <a:spLocks noGrp="1" noRot="1" noMove="1" noResize="1" noEditPoints="1" noAdjustHandles="1" noChangeArrowheads="1" noChangeShapeType="1"/>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236B4ABB-1EEA-C139-07C0-116A42C1A05C}"/>
                </a:ext>
              </a:extLst>
            </p:cNvPr>
            <p:cNvSpPr>
              <a:spLocks noGrp="1" noRot="1" noMove="1" noResize="1" noEditPoints="1" noAdjustHandles="1" noChangeArrowheads="1" noChangeShapeType="1"/>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87D09A5F-D95A-B1D7-DCA7-27678E44801F}"/>
                </a:ext>
              </a:extLst>
            </p:cNvPr>
            <p:cNvSpPr>
              <a:spLocks noGrp="1" noRot="1" noMove="1" noResize="1" noEditPoints="1" noAdjustHandles="1" noChangeArrowheads="1" noChangeShapeType="1"/>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2047B525-34ED-C8E3-DC94-EB730DC3E2FC}"/>
                </a:ext>
              </a:extLst>
            </p:cNvPr>
            <p:cNvSpPr>
              <a:spLocks noGrp="1" noRot="1" noMove="1" noResize="1" noEditPoints="1" noAdjustHandles="1" noChangeArrowheads="1" noChangeShapeType="1"/>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8A3B3C7-8FE7-82FC-5DB8-FB44D55A5FDF}"/>
                </a:ext>
              </a:extLst>
            </p:cNvPr>
            <p:cNvSpPr>
              <a:spLocks noGrp="1" noRot="1" noMove="1" noResize="1" noEditPoints="1" noAdjustHandles="1" noChangeArrowheads="1" noChangeShapeType="1"/>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DE0FFB00-FFEC-D6D1-6202-FAB70192A172}"/>
                </a:ext>
              </a:extLst>
            </p:cNvPr>
            <p:cNvSpPr>
              <a:spLocks noGrp="1" noRot="1" noMove="1" noResize="1" noEditPoints="1" noAdjustHandles="1" noChangeArrowheads="1" noChangeShapeType="1"/>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D4D812A7-197A-E120-DF55-6F6226512716}"/>
                </a:ext>
              </a:extLst>
            </p:cNvPr>
            <p:cNvSpPr>
              <a:spLocks noGrp="1" noRot="1" noMove="1" noResize="1" noEditPoints="1" noAdjustHandles="1" noChangeArrowheads="1" noChangeShapeType="1"/>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7A0D47EC-005B-9159-3769-71EFE242839B}"/>
                </a:ext>
              </a:extLst>
            </p:cNvPr>
            <p:cNvSpPr>
              <a:spLocks noGrp="1" noRot="1" noMove="1" noResize="1" noEditPoints="1" noAdjustHandles="1" noChangeArrowheads="1" noChangeShapeType="1"/>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96522562-EEA3-942E-38C1-64AD9C186F55}"/>
                </a:ext>
              </a:extLst>
            </p:cNvPr>
            <p:cNvSpPr>
              <a:spLocks noGrp="1" noRot="1" noMove="1" noResize="1" noEditPoints="1" noAdjustHandles="1" noChangeArrowheads="1" noChangeShapeType="1"/>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3F98D5A7-991E-E59F-313B-E298D1DBBE25}"/>
                </a:ext>
              </a:extLst>
            </p:cNvPr>
            <p:cNvSpPr>
              <a:spLocks noGrp="1" noRot="1" noMove="1" noResize="1" noEditPoints="1" noAdjustHandles="1" noChangeArrowheads="1" noChangeShapeType="1"/>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0730618C-8914-07D5-83E4-B3B2D368DC8F}"/>
                </a:ext>
              </a:extLst>
            </p:cNvPr>
            <p:cNvSpPr>
              <a:spLocks noGrp="1" noRot="1" noMove="1" noResize="1" noEditPoints="1" noAdjustHandles="1" noChangeArrowheads="1" noChangeShapeType="1"/>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5F8A2103-B371-8DAE-558B-4C41B27A358D}"/>
                </a:ext>
              </a:extLst>
            </p:cNvPr>
            <p:cNvSpPr>
              <a:spLocks noGrp="1" noRot="1" noMove="1" noResize="1" noEditPoints="1" noAdjustHandles="1" noChangeArrowheads="1" noChangeShapeType="1"/>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4ACDAF94-C480-F166-AD26-F083D0EE2402}"/>
                </a:ext>
              </a:extLst>
            </p:cNvPr>
            <p:cNvSpPr>
              <a:spLocks noGrp="1" noRot="1" noMove="1" noResize="1" noEditPoints="1" noAdjustHandles="1" noChangeArrowheads="1" noChangeShapeType="1"/>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D5B48EDA-2F2A-7D9D-BA46-CC7F61368A4F}"/>
                </a:ext>
              </a:extLst>
            </p:cNvPr>
            <p:cNvSpPr>
              <a:spLocks noGrp="1" noRot="1" noMove="1" noResize="1" noEditPoints="1" noAdjustHandles="1" noChangeArrowheads="1" noChangeShapeType="1"/>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8A01F8A0-515E-F50D-E80B-DEA4C843FC34}"/>
                </a:ext>
              </a:extLst>
            </p:cNvPr>
            <p:cNvSpPr>
              <a:spLocks noGrp="1" noRot="1" noMove="1" noResize="1" noEditPoints="1" noAdjustHandles="1" noChangeArrowheads="1" noChangeShapeType="1"/>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4A86080-54A3-9602-68FF-8488015913D2}"/>
                </a:ext>
              </a:extLst>
            </p:cNvPr>
            <p:cNvSpPr>
              <a:spLocks noGrp="1" noRot="1" noMove="1" noResize="1" noEditPoints="1" noAdjustHandles="1" noChangeArrowheads="1" noChangeShapeType="1"/>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CA1799E3-FAD4-66A8-E24E-FD5A1775E07A}"/>
                </a:ext>
              </a:extLst>
            </p:cNvPr>
            <p:cNvSpPr>
              <a:spLocks noGrp="1" noRot="1" noMove="1" noResize="1" noEditPoints="1" noAdjustHandles="1" noChangeArrowheads="1" noChangeShapeType="1"/>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147ECA27-102D-282A-6F01-FC09DF622F31}"/>
                </a:ext>
              </a:extLst>
            </p:cNvPr>
            <p:cNvSpPr>
              <a:spLocks noGrp="1" noRot="1" noMove="1" noResize="1" noEditPoints="1" noAdjustHandles="1" noChangeArrowheads="1" noChangeShapeType="1"/>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01A2ADE9-E38D-A5A3-39D5-B06B7CC530F9}"/>
                </a:ext>
              </a:extLst>
            </p:cNvPr>
            <p:cNvSpPr>
              <a:spLocks noGrp="1" noRot="1" noMove="1" noResize="1" noEditPoints="1" noAdjustHandles="1" noChangeArrowheads="1" noChangeShapeType="1"/>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4833AA89-9019-55AA-EB51-CB8929815B22}"/>
                </a:ext>
              </a:extLst>
            </p:cNvPr>
            <p:cNvSpPr>
              <a:spLocks noGrp="1" noRot="1" noMove="1" noResize="1" noEditPoints="1" noAdjustHandles="1" noChangeArrowheads="1" noChangeShapeType="1"/>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D0C86527-1149-682C-5B34-41BDC54BD4B2}"/>
                </a:ext>
              </a:extLst>
            </p:cNvPr>
            <p:cNvSpPr>
              <a:spLocks noGrp="1" noRot="1" noMove="1" noResize="1" noEditPoints="1" noAdjustHandles="1" noChangeArrowheads="1" noChangeShapeType="1"/>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325A34E-8A03-738B-5E3B-0CDF900405C1}"/>
                </a:ext>
              </a:extLst>
            </p:cNvPr>
            <p:cNvSpPr>
              <a:spLocks noGrp="1" noRot="1" noMove="1" noResize="1" noEditPoints="1" noAdjustHandles="1" noChangeArrowheads="1" noChangeShapeType="1"/>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653DB057-2B54-8CD0-C251-11003F5F5177}"/>
                </a:ext>
              </a:extLst>
            </p:cNvPr>
            <p:cNvSpPr>
              <a:spLocks noGrp="1" noRot="1" noMove="1" noResize="1" noEditPoints="1" noAdjustHandles="1" noChangeArrowheads="1" noChangeShapeType="1"/>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D50E0A97-A966-4653-53CA-C0B9DB05635B}"/>
                </a:ext>
              </a:extLst>
            </p:cNvPr>
            <p:cNvSpPr>
              <a:spLocks noGrp="1" noRot="1" noMove="1" noResize="1" noEditPoints="1" noAdjustHandles="1" noChangeArrowheads="1" noChangeShapeType="1"/>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49F17A3D-9F24-7347-10D7-8FCE8B8009A5}"/>
                </a:ext>
              </a:extLst>
            </p:cNvPr>
            <p:cNvSpPr>
              <a:spLocks noGrp="1" noRot="1" noMove="1" noResize="1" noEditPoints="1" noAdjustHandles="1" noChangeArrowheads="1" noChangeShapeType="1"/>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23A51E2E-E246-DFE2-76CD-ECC3A53E4852}"/>
                </a:ext>
              </a:extLst>
            </p:cNvPr>
            <p:cNvSpPr>
              <a:spLocks noGrp="1" noRot="1" noMove="1" noResize="1" noEditPoints="1" noAdjustHandles="1" noChangeArrowheads="1" noChangeShapeType="1"/>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4BCC9174-6340-7CB1-88E7-AC716630D0D7}"/>
                </a:ext>
              </a:extLst>
            </p:cNvPr>
            <p:cNvSpPr>
              <a:spLocks noGrp="1" noRot="1" noMove="1" noResize="1" noEditPoints="1" noAdjustHandles="1" noChangeArrowheads="1" noChangeShapeType="1"/>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DA180EAD-6D70-95B0-D9EB-739C01816AFF}"/>
                </a:ext>
              </a:extLst>
            </p:cNvPr>
            <p:cNvSpPr>
              <a:spLocks noGrp="1" noRot="1" noMove="1" noResize="1" noEditPoints="1" noAdjustHandles="1" noChangeArrowheads="1" noChangeShapeType="1"/>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1AAFCA4B-120C-C18E-9C94-688719C0A7FC}"/>
                </a:ext>
              </a:extLst>
            </p:cNvPr>
            <p:cNvSpPr>
              <a:spLocks noGrp="1" noRot="1" noMove="1" noResize="1" noEditPoints="1" noAdjustHandles="1" noChangeArrowheads="1" noChangeShapeType="1"/>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A6B43E8-099D-4C19-D4AA-F0BAB9773243}"/>
                </a:ext>
              </a:extLst>
            </p:cNvPr>
            <p:cNvSpPr>
              <a:spLocks noGrp="1" noRot="1" noMove="1" noResize="1" noEditPoints="1" noAdjustHandles="1" noChangeArrowheads="1" noChangeShapeType="1"/>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399A0F5E-4ABA-10EF-333B-A5737B7F2D59}"/>
                </a:ext>
              </a:extLst>
            </p:cNvPr>
            <p:cNvSpPr>
              <a:spLocks noGrp="1" noRot="1" noMove="1" noResize="1" noEditPoints="1" noAdjustHandles="1" noChangeArrowheads="1" noChangeShapeType="1"/>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F4127A7F-97A4-259B-D535-D39AA2DC02DA}"/>
                </a:ext>
              </a:extLst>
            </p:cNvPr>
            <p:cNvSpPr>
              <a:spLocks noGrp="1" noRot="1" noMove="1" noResize="1" noEditPoints="1" noAdjustHandles="1" noChangeArrowheads="1" noChangeShapeType="1"/>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2A53643D-EDBA-372F-BFCD-EB35644171DC}"/>
                </a:ext>
              </a:extLst>
            </p:cNvPr>
            <p:cNvSpPr>
              <a:spLocks noGrp="1" noRot="1" noMove="1" noResize="1" noEditPoints="1" noAdjustHandles="1" noChangeArrowheads="1" noChangeShapeType="1"/>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09709727-1BE2-97AE-B382-5BA79133A9B7}"/>
                </a:ext>
              </a:extLst>
            </p:cNvPr>
            <p:cNvSpPr>
              <a:spLocks noGrp="1" noRot="1" noMove="1" noResize="1" noEditPoints="1" noAdjustHandles="1" noChangeArrowheads="1" noChangeShapeType="1"/>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0CB01F6D-5EA8-A6AC-B01D-F1D47D28E5A0}"/>
                </a:ext>
              </a:extLst>
            </p:cNvPr>
            <p:cNvSpPr>
              <a:spLocks noGrp="1" noRot="1" noMove="1" noResize="1" noEditPoints="1" noAdjustHandles="1" noChangeArrowheads="1" noChangeShapeType="1"/>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E89C081D-A49A-C289-F085-40C915E8B0A4}"/>
                </a:ext>
              </a:extLst>
            </p:cNvPr>
            <p:cNvSpPr>
              <a:spLocks noGrp="1" noRot="1" noMove="1" noResize="1" noEditPoints="1" noAdjustHandles="1" noChangeArrowheads="1" noChangeShapeType="1"/>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219B6F51-154C-C1FD-F5EC-1D24BCAC1809}"/>
                </a:ext>
              </a:extLst>
            </p:cNvPr>
            <p:cNvSpPr>
              <a:spLocks noGrp="1" noRot="1" noMove="1" noResize="1" noEditPoints="1" noAdjustHandles="1" noChangeArrowheads="1" noChangeShapeType="1"/>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EE2CDD1A-661D-C0AA-961E-9E85E2448EEA}"/>
                </a:ext>
              </a:extLst>
            </p:cNvPr>
            <p:cNvSpPr>
              <a:spLocks noGrp="1" noRot="1" noMove="1" noResize="1" noEditPoints="1" noAdjustHandles="1" noChangeArrowheads="1" noChangeShapeType="1"/>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48E3E190-9CAF-B5C6-F234-449523B59EED}"/>
                </a:ext>
              </a:extLst>
            </p:cNvPr>
            <p:cNvSpPr>
              <a:spLocks noGrp="1" noRot="1" noMove="1" noResize="1" noEditPoints="1" noAdjustHandles="1" noChangeArrowheads="1" noChangeShapeType="1"/>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9319054-5991-C35F-46BD-5A4D9EC9E075}"/>
                </a:ext>
              </a:extLst>
            </p:cNvPr>
            <p:cNvSpPr>
              <a:spLocks noGrp="1" noRot="1" noMove="1" noResize="1" noEditPoints="1" noAdjustHandles="1" noChangeArrowheads="1" noChangeShapeType="1"/>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8BFD0B34-28E7-D318-77FE-50392B9420FF}"/>
                </a:ext>
              </a:extLst>
            </p:cNvPr>
            <p:cNvSpPr>
              <a:spLocks noGrp="1" noRot="1" noMove="1" noResize="1" noEditPoints="1" noAdjustHandles="1" noChangeArrowheads="1" noChangeShapeType="1"/>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5C2220A5-B944-F028-FFE1-54ED1E637405}"/>
                </a:ext>
              </a:extLst>
            </p:cNvPr>
            <p:cNvSpPr>
              <a:spLocks noGrp="1" noRot="1" noMove="1" noResize="1" noEditPoints="1" noAdjustHandles="1" noChangeArrowheads="1" noChangeShapeType="1"/>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F82C7E9E-076C-AAA6-D81C-6A12D141786F}"/>
                </a:ext>
              </a:extLst>
            </p:cNvPr>
            <p:cNvSpPr>
              <a:spLocks noGrp="1" noRot="1" noMove="1" noResize="1" noEditPoints="1" noAdjustHandles="1" noChangeArrowheads="1" noChangeShapeType="1"/>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881610BE-0FFE-9B95-50FB-2C239E904DD5}"/>
                </a:ext>
              </a:extLst>
            </p:cNvPr>
            <p:cNvSpPr>
              <a:spLocks noGrp="1" noRot="1" noMove="1" noResize="1" noEditPoints="1" noAdjustHandles="1" noChangeArrowheads="1" noChangeShapeType="1"/>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FC72AE60-7ED4-D024-74DD-980BDBAAA3C5}"/>
                </a:ext>
              </a:extLst>
            </p:cNvPr>
            <p:cNvSpPr>
              <a:spLocks noGrp="1" noRot="1" noMove="1" noResize="1" noEditPoints="1" noAdjustHandles="1" noChangeArrowheads="1" noChangeShapeType="1"/>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6EADE81E-9CA0-A2A9-30BD-154FDFF2AC82}"/>
                </a:ext>
              </a:extLst>
            </p:cNvPr>
            <p:cNvSpPr>
              <a:spLocks noGrp="1" noRot="1" noMove="1" noResize="1" noEditPoints="1" noAdjustHandles="1" noChangeArrowheads="1" noChangeShapeType="1"/>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4D5D2728-46A0-1EFC-ECCE-39B7C590ABB3}"/>
                </a:ext>
              </a:extLst>
            </p:cNvPr>
            <p:cNvSpPr>
              <a:spLocks noGrp="1" noRot="1" noMove="1" noResize="1" noEditPoints="1" noAdjustHandles="1" noChangeArrowheads="1" noChangeShapeType="1"/>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6CE4FC91-2741-1225-EF7D-3C53B1BF4358}"/>
                </a:ext>
              </a:extLst>
            </p:cNvPr>
            <p:cNvSpPr>
              <a:spLocks noGrp="1" noRot="1" noMove="1" noResize="1" noEditPoints="1" noAdjustHandles="1" noChangeArrowheads="1" noChangeShapeType="1"/>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D7C29690-ADD7-FE89-A147-67C904100BCC}"/>
                </a:ext>
              </a:extLst>
            </p:cNvPr>
            <p:cNvSpPr>
              <a:spLocks noGrp="1" noRot="1" noMove="1" noResize="1" noEditPoints="1" noAdjustHandles="1" noChangeArrowheads="1" noChangeShapeType="1"/>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0FC18C5-CF7A-CF28-F7F8-90AAC990B0A0}"/>
                </a:ext>
              </a:extLst>
            </p:cNvPr>
            <p:cNvSpPr>
              <a:spLocks noGrp="1" noRot="1" noMove="1" noResize="1" noEditPoints="1" noAdjustHandles="1" noChangeArrowheads="1" noChangeShapeType="1"/>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BC7ADBAE-CE0A-93F8-1DE6-47FBA32E1621}"/>
                </a:ext>
              </a:extLst>
            </p:cNvPr>
            <p:cNvSpPr>
              <a:spLocks noGrp="1" noRot="1" noMove="1" noResize="1" noEditPoints="1" noAdjustHandles="1" noChangeArrowheads="1" noChangeShapeType="1"/>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2B3AC93E-6F2F-4B6B-77E5-3E2175263405}"/>
                </a:ext>
              </a:extLst>
            </p:cNvPr>
            <p:cNvSpPr>
              <a:spLocks noGrp="1" noRot="1" noMove="1" noResize="1" noEditPoints="1" noAdjustHandles="1" noChangeArrowheads="1" noChangeShapeType="1"/>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F0F54960-33B5-D8F2-135C-B05466EED42E}"/>
                </a:ext>
              </a:extLst>
            </p:cNvPr>
            <p:cNvSpPr>
              <a:spLocks noGrp="1" noRot="1" noMove="1" noResize="1" noEditPoints="1" noAdjustHandles="1" noChangeArrowheads="1" noChangeShapeType="1"/>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200F2BDC-FCA2-7D33-93D5-A46013F57BFF}"/>
                </a:ext>
              </a:extLst>
            </p:cNvPr>
            <p:cNvSpPr>
              <a:spLocks noGrp="1" noRot="1" noMove="1" noResize="1" noEditPoints="1" noAdjustHandles="1" noChangeArrowheads="1" noChangeShapeType="1"/>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0FCD8F6C-507F-139E-1A3D-93DC87B1146B}"/>
                </a:ext>
              </a:extLst>
            </p:cNvPr>
            <p:cNvSpPr>
              <a:spLocks noGrp="1" noRot="1" noMove="1" noResize="1" noEditPoints="1" noAdjustHandles="1" noChangeArrowheads="1" noChangeShapeType="1"/>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97A0F419-0A41-0263-669B-78083111CDAF}"/>
                </a:ext>
              </a:extLst>
            </p:cNvPr>
            <p:cNvSpPr>
              <a:spLocks noGrp="1" noRot="1" noMove="1" noResize="1" noEditPoints="1" noAdjustHandles="1" noChangeArrowheads="1" noChangeShapeType="1"/>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DAE4B22B-69F5-CD30-59F5-D46D779C6317}"/>
                </a:ext>
              </a:extLst>
            </p:cNvPr>
            <p:cNvSpPr>
              <a:spLocks noGrp="1" noRot="1" noMove="1" noResize="1" noEditPoints="1" noAdjustHandles="1" noChangeArrowheads="1" noChangeShapeType="1"/>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0D43BD18-69BE-410B-5744-CC3A634F14ED}"/>
                </a:ext>
              </a:extLst>
            </p:cNvPr>
            <p:cNvSpPr>
              <a:spLocks noGrp="1" noRot="1" noMove="1" noResize="1" noEditPoints="1" noAdjustHandles="1" noChangeArrowheads="1" noChangeShapeType="1"/>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4DC373AD-63EA-EEE8-F32D-469AD5068944}"/>
                </a:ext>
              </a:extLst>
            </p:cNvPr>
            <p:cNvSpPr>
              <a:spLocks noGrp="1" noRot="1" noMove="1" noResize="1" noEditPoints="1" noAdjustHandles="1" noChangeArrowheads="1" noChangeShapeType="1"/>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9FFBCF88-1F9F-9EE0-784B-9E68344A192C}"/>
                </a:ext>
              </a:extLst>
            </p:cNvPr>
            <p:cNvSpPr>
              <a:spLocks noGrp="1" noRot="1" noMove="1" noResize="1" noEditPoints="1" noAdjustHandles="1" noChangeArrowheads="1" noChangeShapeType="1"/>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BDA4BCE5-969D-4C33-D2E7-BC479D01D75D}"/>
                </a:ext>
              </a:extLst>
            </p:cNvPr>
            <p:cNvSpPr>
              <a:spLocks noGrp="1" noRot="1" noMove="1" noResize="1" noEditPoints="1" noAdjustHandles="1" noChangeArrowheads="1" noChangeShapeType="1"/>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E4BAA05A-F76B-FF90-22C6-E2692FDAEAD9}"/>
                </a:ext>
              </a:extLst>
            </p:cNvPr>
            <p:cNvSpPr>
              <a:spLocks noGrp="1" noRot="1" noMove="1" noResize="1" noEditPoints="1" noAdjustHandles="1" noChangeArrowheads="1" noChangeShapeType="1"/>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606DCE85-7BF1-6EF8-F766-D0DB34F830F4}"/>
                </a:ext>
              </a:extLst>
            </p:cNvPr>
            <p:cNvSpPr>
              <a:spLocks noGrp="1" noRot="1" noMove="1" noResize="1" noEditPoints="1" noAdjustHandles="1" noChangeArrowheads="1" noChangeShapeType="1"/>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4EDCA396-EBDB-D9A8-E338-57AE867B9B63}"/>
                </a:ext>
              </a:extLst>
            </p:cNvPr>
            <p:cNvSpPr>
              <a:spLocks noGrp="1" noRot="1" noMove="1" noResize="1" noEditPoints="1" noAdjustHandles="1" noChangeArrowheads="1" noChangeShapeType="1"/>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2B34AF83-D96E-0D6A-3101-900DD24F9C25}"/>
                </a:ext>
              </a:extLst>
            </p:cNvPr>
            <p:cNvSpPr>
              <a:spLocks noGrp="1" noRot="1" noMove="1" noResize="1" noEditPoints="1" noAdjustHandles="1" noChangeArrowheads="1" noChangeShapeType="1"/>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3FC842E9-B41A-1432-59CB-93ED8532A96F}"/>
                </a:ext>
              </a:extLst>
            </p:cNvPr>
            <p:cNvSpPr>
              <a:spLocks noGrp="1" noRot="1" noMove="1" noResize="1" noEditPoints="1" noAdjustHandles="1" noChangeArrowheads="1" noChangeShapeType="1"/>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5C41766D-2768-2AB0-9D25-A68D17F59719}"/>
                </a:ext>
              </a:extLst>
            </p:cNvPr>
            <p:cNvSpPr>
              <a:spLocks noGrp="1" noRot="1" noMove="1" noResize="1" noEditPoints="1" noAdjustHandles="1" noChangeArrowheads="1" noChangeShapeType="1"/>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07292267-47F0-91FD-CF61-BC7532D1E201}"/>
                </a:ext>
              </a:extLst>
            </p:cNvPr>
            <p:cNvSpPr>
              <a:spLocks noGrp="1" noRot="1" noMove="1" noResize="1" noEditPoints="1" noAdjustHandles="1" noChangeArrowheads="1" noChangeShapeType="1"/>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0884DC34-B1EA-F3FE-8BC8-6ABD2AB3067F}"/>
                </a:ext>
              </a:extLst>
            </p:cNvPr>
            <p:cNvSpPr>
              <a:spLocks noGrp="1" noRot="1" noMove="1" noResize="1" noEditPoints="1" noAdjustHandles="1" noChangeArrowheads="1" noChangeShapeType="1"/>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0AEB310D-A8AD-25CB-509A-A8D64508F9B4}"/>
                </a:ext>
              </a:extLst>
            </p:cNvPr>
            <p:cNvSpPr>
              <a:spLocks noGrp="1" noRot="1" noMove="1" noResize="1" noEditPoints="1" noAdjustHandles="1" noChangeArrowheads="1" noChangeShapeType="1"/>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03A9A708-F7E0-D041-6E5B-4E0416F6F758}"/>
                </a:ext>
              </a:extLst>
            </p:cNvPr>
            <p:cNvSpPr>
              <a:spLocks noGrp="1" noRot="1" noMove="1" noResize="1" noEditPoints="1" noAdjustHandles="1" noChangeArrowheads="1" noChangeShapeType="1"/>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4AB10E45-1CC3-6E3B-94FD-60D0AD9CB6ED}"/>
                </a:ext>
              </a:extLst>
            </p:cNvPr>
            <p:cNvSpPr>
              <a:spLocks noGrp="1" noRot="1" noMove="1" noResize="1" noEditPoints="1" noAdjustHandles="1" noChangeArrowheads="1" noChangeShapeType="1"/>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0EE5136C-B59B-C8C0-D68B-4C89D7034936}"/>
                </a:ext>
              </a:extLst>
            </p:cNvPr>
            <p:cNvSpPr>
              <a:spLocks noGrp="1" noRot="1" noMove="1" noResize="1" noEditPoints="1" noAdjustHandles="1" noChangeArrowheads="1" noChangeShapeType="1"/>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EA58249B-50D2-3668-34B4-D9B74F6ECC18}"/>
                </a:ext>
              </a:extLst>
            </p:cNvPr>
            <p:cNvSpPr>
              <a:spLocks noGrp="1" noRot="1" noMove="1" noResize="1" noEditPoints="1" noAdjustHandles="1" noChangeArrowheads="1" noChangeShapeType="1"/>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F9962285-7ADA-D26D-8D5D-776A27DBAD11}"/>
                </a:ext>
              </a:extLst>
            </p:cNvPr>
            <p:cNvSpPr>
              <a:spLocks noGrp="1" noRot="1" noMove="1" noResize="1" noEditPoints="1" noAdjustHandles="1" noChangeArrowheads="1" noChangeShapeType="1"/>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A682C758-1AAE-DCE4-FD12-B5748B3491BE}"/>
                </a:ext>
              </a:extLst>
            </p:cNvPr>
            <p:cNvSpPr>
              <a:spLocks noGrp="1" noRot="1" noMove="1" noResize="1" noEditPoints="1" noAdjustHandles="1" noChangeArrowheads="1" noChangeShapeType="1"/>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B4B02DDB-0A34-A8F6-A3A5-CFB22C1A621D}"/>
                </a:ext>
              </a:extLst>
            </p:cNvPr>
            <p:cNvSpPr>
              <a:spLocks noGrp="1" noRot="1" noMove="1" noResize="1" noEditPoints="1" noAdjustHandles="1" noChangeArrowheads="1" noChangeShapeType="1"/>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1C33476D-FB28-0FEA-3B7D-0EFA1D2DE745}"/>
                </a:ext>
              </a:extLst>
            </p:cNvPr>
            <p:cNvSpPr>
              <a:spLocks noGrp="1" noRot="1" noMove="1" noResize="1" noEditPoints="1" noAdjustHandles="1" noChangeArrowheads="1" noChangeShapeType="1"/>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5490E746-7686-6E84-ADC3-DBD9E18E2CED}"/>
                </a:ext>
              </a:extLst>
            </p:cNvPr>
            <p:cNvSpPr>
              <a:spLocks noGrp="1" noRot="1" noMove="1" noResize="1" noEditPoints="1" noAdjustHandles="1" noChangeArrowheads="1" noChangeShapeType="1"/>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69F8FF42-F5F4-C441-2298-48A1C79DE86A}"/>
                </a:ext>
              </a:extLst>
            </p:cNvPr>
            <p:cNvSpPr>
              <a:spLocks noGrp="1" noRot="1" noMove="1" noResize="1" noEditPoints="1" noAdjustHandles="1" noChangeArrowheads="1" noChangeShapeType="1"/>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C340300C-8286-B9E4-4DAD-03F8E7BED9D4}"/>
                </a:ext>
              </a:extLst>
            </p:cNvPr>
            <p:cNvSpPr>
              <a:spLocks noGrp="1" noRot="1" noMove="1" noResize="1" noEditPoints="1" noAdjustHandles="1" noChangeArrowheads="1" noChangeShapeType="1"/>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EA97F2A5-537E-E220-7993-F18964DBA9DA}"/>
                </a:ext>
              </a:extLst>
            </p:cNvPr>
            <p:cNvSpPr>
              <a:spLocks noGrp="1" noRot="1" noMove="1" noResize="1" noEditPoints="1" noAdjustHandles="1" noChangeArrowheads="1" noChangeShapeType="1"/>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0322F48E-E98A-15ED-4220-280C950C8CC2}"/>
                </a:ext>
              </a:extLst>
            </p:cNvPr>
            <p:cNvSpPr>
              <a:spLocks noGrp="1" noRot="1" noMove="1" noResize="1" noEditPoints="1" noAdjustHandles="1" noChangeArrowheads="1" noChangeShapeType="1"/>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F58EA5C2-1E56-9ACD-4239-16F71A094373}"/>
                </a:ext>
              </a:extLst>
            </p:cNvPr>
            <p:cNvSpPr>
              <a:spLocks noGrp="1" noRot="1" noMove="1" noResize="1" noEditPoints="1" noAdjustHandles="1" noChangeArrowheads="1" noChangeShapeType="1"/>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85099798-5793-8702-DD70-343C8F93C17F}"/>
                </a:ext>
              </a:extLst>
            </p:cNvPr>
            <p:cNvSpPr>
              <a:spLocks noGrp="1" noRot="1" noMove="1" noResize="1" noEditPoints="1" noAdjustHandles="1" noChangeArrowheads="1" noChangeShapeType="1"/>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895944C1-2476-42BF-8A22-B8CB89A5928F}"/>
                </a:ext>
              </a:extLst>
            </p:cNvPr>
            <p:cNvSpPr>
              <a:spLocks noGrp="1" noRot="1" noMove="1" noResize="1" noEditPoints="1" noAdjustHandles="1" noChangeArrowheads="1" noChangeShapeType="1"/>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9D437EB3-84BE-F57C-23A4-8B37526CF6CC}"/>
                </a:ext>
              </a:extLst>
            </p:cNvPr>
            <p:cNvSpPr>
              <a:spLocks noGrp="1" noRot="1" noMove="1" noResize="1" noEditPoints="1" noAdjustHandles="1" noChangeArrowheads="1" noChangeShapeType="1"/>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E0A940AE-2C3C-DF30-252D-E1A7CEB751F4}"/>
                </a:ext>
              </a:extLst>
            </p:cNvPr>
            <p:cNvSpPr>
              <a:spLocks noGrp="1" noRot="1" noMove="1" noResize="1" noEditPoints="1" noAdjustHandles="1" noChangeArrowheads="1" noChangeShapeType="1"/>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72086A1E-E4DF-A45D-104B-00149B95AFA6}"/>
                </a:ext>
              </a:extLst>
            </p:cNvPr>
            <p:cNvSpPr>
              <a:spLocks noGrp="1" noRot="1" noMove="1" noResize="1" noEditPoints="1" noAdjustHandles="1" noChangeArrowheads="1" noChangeShapeType="1"/>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95BAFB82-0B07-1EF6-0722-970C67CB2ED0}"/>
                </a:ext>
              </a:extLst>
            </p:cNvPr>
            <p:cNvSpPr>
              <a:spLocks noGrp="1" noRot="1" noMove="1" noResize="1" noEditPoints="1" noAdjustHandles="1" noChangeArrowheads="1" noChangeShapeType="1"/>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F2494336-F1C5-8C7C-7945-DC023F6BF3D4}"/>
                </a:ext>
              </a:extLst>
            </p:cNvPr>
            <p:cNvSpPr>
              <a:spLocks noGrp="1" noRot="1" noMove="1" noResize="1" noEditPoints="1" noAdjustHandles="1" noChangeArrowheads="1" noChangeShapeType="1"/>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EF06CC6D-BBAB-C922-E82E-16796AF61EE1}"/>
                </a:ext>
              </a:extLst>
            </p:cNvPr>
            <p:cNvSpPr>
              <a:spLocks noGrp="1" noRot="1" noMove="1" noResize="1" noEditPoints="1" noAdjustHandles="1" noChangeArrowheads="1" noChangeShapeType="1"/>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9F4440A7-64F6-407A-7E80-0FD5D8964ACE}"/>
                </a:ext>
              </a:extLst>
            </p:cNvPr>
            <p:cNvSpPr>
              <a:spLocks noGrp="1" noRot="1" noMove="1" noResize="1" noEditPoints="1" noAdjustHandles="1" noChangeArrowheads="1" noChangeShapeType="1"/>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A083BD59-9F41-89BF-4DB3-34533E2D4FA0}"/>
                </a:ext>
              </a:extLst>
            </p:cNvPr>
            <p:cNvSpPr>
              <a:spLocks noGrp="1" noRot="1" noMove="1" noResize="1" noEditPoints="1" noAdjustHandles="1" noChangeArrowheads="1" noChangeShapeType="1"/>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3ACD02F3-3C85-DC9A-EB2F-2D7BF66468B5}"/>
                </a:ext>
              </a:extLst>
            </p:cNvPr>
            <p:cNvSpPr>
              <a:spLocks noGrp="1" noRot="1" noMove="1" noResize="1" noEditPoints="1" noAdjustHandles="1" noChangeArrowheads="1" noChangeShapeType="1"/>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316E334B-5857-7CFF-ECBA-5562F211ED51}"/>
                </a:ext>
              </a:extLst>
            </p:cNvPr>
            <p:cNvSpPr>
              <a:spLocks noGrp="1" noRot="1" noMove="1" noResize="1" noEditPoints="1" noAdjustHandles="1" noChangeArrowheads="1" noChangeShapeType="1"/>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0C234B7-1309-E702-41FD-496BAE16D7A2}"/>
                </a:ext>
              </a:extLst>
            </p:cNvPr>
            <p:cNvSpPr>
              <a:spLocks noGrp="1" noRot="1" noMove="1" noResize="1" noEditPoints="1" noAdjustHandles="1" noChangeArrowheads="1" noChangeShapeType="1"/>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13537505-08FA-01F3-4D60-ED331613CB92}"/>
                </a:ext>
              </a:extLst>
            </p:cNvPr>
            <p:cNvSpPr>
              <a:spLocks noGrp="1" noRot="1" noMove="1" noResize="1" noEditPoints="1" noAdjustHandles="1" noChangeArrowheads="1" noChangeShapeType="1"/>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19BC0E02-1D51-1A83-67CA-5DA2763842FC}"/>
                </a:ext>
              </a:extLst>
            </p:cNvPr>
            <p:cNvSpPr>
              <a:spLocks noGrp="1" noRot="1" noMove="1" noResize="1" noEditPoints="1" noAdjustHandles="1" noChangeArrowheads="1" noChangeShapeType="1"/>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BF74E024-7180-6FE5-4277-1060EFED9C7C}"/>
                </a:ext>
              </a:extLst>
            </p:cNvPr>
            <p:cNvSpPr>
              <a:spLocks noGrp="1" noRot="1" noMove="1" noResize="1" noEditPoints="1" noAdjustHandles="1" noChangeArrowheads="1" noChangeShapeType="1"/>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AB8703EF-9453-D624-BB74-60484576307A}"/>
                </a:ext>
              </a:extLst>
            </p:cNvPr>
            <p:cNvSpPr>
              <a:spLocks noGrp="1" noRot="1" noMove="1" noResize="1" noEditPoints="1" noAdjustHandles="1" noChangeArrowheads="1" noChangeShapeType="1"/>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BD3F381A-3BA5-6846-3114-56217CA3F7AF}"/>
                </a:ext>
              </a:extLst>
            </p:cNvPr>
            <p:cNvSpPr>
              <a:spLocks noGrp="1" noRot="1" noMove="1" noResize="1" noEditPoints="1" noAdjustHandles="1" noChangeArrowheads="1" noChangeShapeType="1"/>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C48DE764-3409-751B-A865-4FFE5E2FEDB1}"/>
                </a:ext>
              </a:extLst>
            </p:cNvPr>
            <p:cNvSpPr>
              <a:spLocks noGrp="1" noRot="1" noMove="1" noResize="1" noEditPoints="1" noAdjustHandles="1" noChangeArrowheads="1" noChangeShapeType="1"/>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4FD89177-3666-CFF8-8542-D6CAFB1FE65C}"/>
                </a:ext>
              </a:extLst>
            </p:cNvPr>
            <p:cNvSpPr>
              <a:spLocks noGrp="1" noRot="1" noMove="1" noResize="1" noEditPoints="1" noAdjustHandles="1" noChangeArrowheads="1" noChangeShapeType="1"/>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1FD53DA3-795A-ACC8-7CD5-70F0C9125186}"/>
                </a:ext>
              </a:extLst>
            </p:cNvPr>
            <p:cNvSpPr>
              <a:spLocks noGrp="1" noRot="1" noMove="1" noResize="1" noEditPoints="1" noAdjustHandles="1" noChangeArrowheads="1" noChangeShapeType="1"/>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175266AD-1D0A-BE82-62B0-8B5FFC3B932B}"/>
                </a:ext>
              </a:extLst>
            </p:cNvPr>
            <p:cNvSpPr>
              <a:spLocks noGrp="1" noRot="1" noMove="1" noResize="1" noEditPoints="1" noAdjustHandles="1" noChangeArrowheads="1" noChangeShapeType="1"/>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E7855A6-3D12-B64F-F6F0-7DB778B3F13C}"/>
                </a:ext>
              </a:extLst>
            </p:cNvPr>
            <p:cNvSpPr>
              <a:spLocks noGrp="1" noRot="1" noMove="1" noResize="1" noEditPoints="1" noAdjustHandles="1" noChangeArrowheads="1" noChangeShapeType="1"/>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B8C798C2-8753-C495-C0A9-B70CCA29E5FC}"/>
                </a:ext>
              </a:extLst>
            </p:cNvPr>
            <p:cNvSpPr>
              <a:spLocks noGrp="1" noRot="1" noMove="1" noResize="1" noEditPoints="1" noAdjustHandles="1" noChangeArrowheads="1" noChangeShapeType="1"/>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2B50B9A9-0834-395F-07BC-F8A5D292E44B}"/>
                </a:ext>
              </a:extLst>
            </p:cNvPr>
            <p:cNvSpPr>
              <a:spLocks noGrp="1" noRot="1" noMove="1" noResize="1" noEditPoints="1" noAdjustHandles="1" noChangeArrowheads="1" noChangeShapeType="1"/>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25475B20-5659-154A-FFEA-59D4738F2A50}"/>
                </a:ext>
              </a:extLst>
            </p:cNvPr>
            <p:cNvSpPr>
              <a:spLocks noGrp="1" noRot="1" noMove="1" noResize="1" noEditPoints="1" noAdjustHandles="1" noChangeArrowheads="1" noChangeShapeType="1"/>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C62E3382-15C6-1460-A048-24EE9381BC8A}"/>
                </a:ext>
              </a:extLst>
            </p:cNvPr>
            <p:cNvSpPr>
              <a:spLocks noGrp="1" noRot="1" noMove="1" noResize="1" noEditPoints="1" noAdjustHandles="1" noChangeArrowheads="1" noChangeShapeType="1"/>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C4CD9211-A909-936C-5301-95A79370889A}"/>
                </a:ext>
              </a:extLst>
            </p:cNvPr>
            <p:cNvSpPr>
              <a:spLocks noGrp="1" noRot="1" noMove="1" noResize="1" noEditPoints="1" noAdjustHandles="1" noChangeArrowheads="1" noChangeShapeType="1"/>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270BCD4B-652B-8400-2ECD-B4D604CCE7F0}"/>
                </a:ext>
              </a:extLst>
            </p:cNvPr>
            <p:cNvSpPr>
              <a:spLocks noGrp="1" noRot="1" noMove="1" noResize="1" noEditPoints="1" noAdjustHandles="1" noChangeArrowheads="1" noChangeShapeType="1"/>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7B433087-ABE7-722E-1AA8-7FF1EF336E0B}"/>
                </a:ext>
              </a:extLst>
            </p:cNvPr>
            <p:cNvSpPr>
              <a:spLocks noGrp="1" noRot="1" noMove="1" noResize="1" noEditPoints="1" noAdjustHandles="1" noChangeArrowheads="1" noChangeShapeType="1"/>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2BAAE5C4-27D5-913B-7783-7DCF5F77D618}"/>
                </a:ext>
              </a:extLst>
            </p:cNvPr>
            <p:cNvSpPr>
              <a:spLocks noGrp="1" noRot="1" noMove="1" noResize="1" noEditPoints="1" noAdjustHandles="1" noChangeArrowheads="1" noChangeShapeType="1"/>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A8033DFE-A88F-8237-DA60-85D7D16C7A4F}"/>
                </a:ext>
              </a:extLst>
            </p:cNvPr>
            <p:cNvSpPr>
              <a:spLocks noGrp="1" noRot="1" noMove="1" noResize="1" noEditPoints="1" noAdjustHandles="1" noChangeArrowheads="1" noChangeShapeType="1"/>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ECCFB17C-6D06-29FE-06F6-BBBADCE32E5B}"/>
                </a:ext>
              </a:extLst>
            </p:cNvPr>
            <p:cNvSpPr>
              <a:spLocks noGrp="1" noRot="1" noMove="1" noResize="1" noEditPoints="1" noAdjustHandles="1" noChangeArrowheads="1" noChangeShapeType="1"/>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4C547AE9-6CCA-FB6D-E65A-4BD383CB0C6E}"/>
                </a:ext>
              </a:extLst>
            </p:cNvPr>
            <p:cNvSpPr>
              <a:spLocks noGrp="1" noRot="1" noMove="1" noResize="1" noEditPoints="1" noAdjustHandles="1" noChangeArrowheads="1" noChangeShapeType="1"/>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tx1"/>
            </a:solidFill>
            <a:ln w="4763"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443663B8-58D2-EF83-A15D-9AF9E90FDDD3}"/>
                </a:ext>
              </a:extLst>
            </p:cNvPr>
            <p:cNvSpPr>
              <a:spLocks noGrp="1" noRot="1" noMove="1" noResize="1" noEditPoints="1" noAdjustHandles="1" noChangeArrowheads="1" noChangeShapeType="1"/>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accent1"/>
            </a:solidFill>
            <a:ln w="4763"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F39BDBF4-37BA-5549-9216-688B3BDE46ED}"/>
                </a:ext>
              </a:extLst>
            </p:cNvPr>
            <p:cNvSpPr>
              <a:spLocks noGrp="1" noRot="1" noMove="1" noResize="1" noEditPoints="1" noAdjustHandles="1" noChangeArrowheads="1" noChangeShapeType="1"/>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B9959809-2531-4004-3C32-0889E166952D}"/>
                </a:ext>
              </a:extLst>
            </p:cNvPr>
            <p:cNvSpPr>
              <a:spLocks noGrp="1" noRot="1" noMove="1" noResize="1" noEditPoints="1" noAdjustHandles="1" noChangeArrowheads="1" noChangeShapeType="1"/>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chemeClr val="bg1"/>
            </a:solidFill>
            <a:ln w="4763"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99B6F1B2-BAA3-C69D-4048-A76765E36CB5}"/>
                </a:ext>
              </a:extLst>
            </p:cNvPr>
            <p:cNvSpPr>
              <a:spLocks noGrp="1" noRot="1" noMove="1" noResize="1" noEditPoints="1" noAdjustHandles="1" noChangeArrowheads="1" noChangeShapeType="1"/>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grpFill/>
            <a:ln w="4763" cap="flat">
              <a:noFill/>
              <a:prstDash val="solid"/>
              <a:miter/>
            </a:ln>
          </p:spPr>
          <p:txBody>
            <a:bodyPr rtlCol="0" anchor="ctr"/>
            <a:lstStyle/>
            <a:p>
              <a:endParaRPr lang="fr-FR" sz="2400"/>
            </a:p>
          </p:txBody>
        </p:sp>
      </p:grpSp>
      <p:sp>
        <p:nvSpPr>
          <p:cNvPr id="5" name="Text Placeholder">
            <a:extLst>
              <a:ext uri="{FF2B5EF4-FFF2-40B4-BE49-F238E27FC236}">
                <a16:creationId xmlns:a16="http://schemas.microsoft.com/office/drawing/2014/main" id="{AC1E98B7-AAF0-0B85-F6DC-61FF4D4FE7C9}"/>
              </a:ext>
            </a:extLst>
          </p:cNvPr>
          <p:cNvSpPr>
            <a:spLocks noGrp="1"/>
          </p:cNvSpPr>
          <p:nvPr>
            <p:ph type="body" sz="quarter" idx="10" hasCustomPrompt="1"/>
          </p:nvPr>
        </p:nvSpPr>
        <p:spPr>
          <a:xfrm>
            <a:off x="759885" y="1907117"/>
            <a:ext cx="4952999" cy="3048000"/>
          </a:xfrm>
        </p:spPr>
        <p:txBody>
          <a:body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 name="Text Placeholder">
            <a:extLst>
              <a:ext uri="{FF2B5EF4-FFF2-40B4-BE49-F238E27FC236}">
                <a16:creationId xmlns:a16="http://schemas.microsoft.com/office/drawing/2014/main" id="{629E56A1-2F27-D53F-DC95-853288E22EC5}"/>
              </a:ext>
            </a:extLst>
          </p:cNvPr>
          <p:cNvSpPr>
            <a:spLocks noGrp="1"/>
          </p:cNvSpPr>
          <p:nvPr>
            <p:ph type="title" hasCustomPrompt="1"/>
          </p:nvPr>
        </p:nvSpPr>
        <p:spPr>
          <a:xfrm>
            <a:off x="759885" y="762001"/>
            <a:ext cx="4953001" cy="759883"/>
          </a:xfrm>
        </p:spPr>
        <p:txBody>
          <a:bodyPr/>
          <a:lstStyle>
            <a:lvl1pPr>
              <a:defRPr/>
            </a:lvl1pPr>
          </a:lstStyle>
          <a:p>
            <a:r>
              <a:rPr lang="en-US"/>
              <a:t>Edit title</a:t>
            </a:r>
            <a:endParaRPr lang="en-GB"/>
          </a:p>
        </p:txBody>
      </p:sp>
      <p:sp>
        <p:nvSpPr>
          <p:cNvPr id="2" name="Picture Placeholder">
            <a:extLst>
              <a:ext uri="{FF2B5EF4-FFF2-40B4-BE49-F238E27FC236}">
                <a16:creationId xmlns:a16="http://schemas.microsoft.com/office/drawing/2014/main" id="{8C7226FF-85AD-CCEE-0E66-2E8B4FADA6DB}"/>
              </a:ext>
            </a:extLst>
          </p:cNvPr>
          <p:cNvSpPr>
            <a:spLocks noGrp="1"/>
          </p:cNvSpPr>
          <p:nvPr>
            <p:ph type="pic" sz="quarter" idx="17"/>
          </p:nvPr>
        </p:nvSpPr>
        <p:spPr>
          <a:xfrm>
            <a:off x="7617885" y="1524000"/>
            <a:ext cx="3050116" cy="3048000"/>
          </a:xfrm>
          <a:noFill/>
        </p:spPr>
        <p:txBody>
          <a:bodyPr/>
          <a:lstStyle>
            <a:lvl1pPr>
              <a:defRPr>
                <a:noFill/>
              </a:defRPr>
            </a:lvl1pPr>
          </a:lstStyle>
          <a:p>
            <a:r>
              <a:rPr lang="fr-FR"/>
              <a:t>Cliquez sur l'icône pour ajouter une image</a:t>
            </a:r>
          </a:p>
        </p:txBody>
      </p:sp>
    </p:spTree>
    <p:extLst>
      <p:ext uri="{BB962C8B-B14F-4D97-AF65-F5344CB8AC3E}">
        <p14:creationId xmlns:p14="http://schemas.microsoft.com/office/powerpoint/2010/main" val="140300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tatic_Pixel_6">
    <p:spTree>
      <p:nvGrpSpPr>
        <p:cNvPr id="1" name=""/>
        <p:cNvGrpSpPr/>
        <p:nvPr/>
      </p:nvGrpSpPr>
      <p:grpSpPr>
        <a:xfrm>
          <a:off x="0" y="0"/>
          <a:ext cx="0" cy="0"/>
          <a:chOff x="0" y="0"/>
          <a:chExt cx="0" cy="0"/>
        </a:xfrm>
      </p:grpSpPr>
      <p:sp>
        <p:nvSpPr>
          <p:cNvPr id="21" name="Pixel">
            <a:extLst>
              <a:ext uri="{FF2B5EF4-FFF2-40B4-BE49-F238E27FC236}">
                <a16:creationId xmlns:a16="http://schemas.microsoft.com/office/drawing/2014/main" id="{C9ECC7DB-1F6F-DC7F-76DD-22F8F7232EBD}"/>
              </a:ext>
            </a:extLst>
          </p:cNvPr>
          <p:cNvSpPr/>
          <p:nvPr/>
        </p:nvSpPr>
        <p:spPr>
          <a:xfrm>
            <a:off x="3428999" y="3431117"/>
            <a:ext cx="3431999" cy="34268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 name="Pixel">
            <a:extLst>
              <a:ext uri="{FF2B5EF4-FFF2-40B4-BE49-F238E27FC236}">
                <a16:creationId xmlns:a16="http://schemas.microsoft.com/office/drawing/2014/main" id="{C76A86E1-8211-97A7-C075-3BC8BEDA6004}"/>
              </a:ext>
            </a:extLst>
          </p:cNvPr>
          <p:cNvSpPr/>
          <p:nvPr/>
        </p:nvSpPr>
        <p:spPr>
          <a:xfrm>
            <a:off x="0" y="-1"/>
            <a:ext cx="3429000" cy="34332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19" name="Pixel">
            <a:extLst>
              <a:ext uri="{FF2B5EF4-FFF2-40B4-BE49-F238E27FC236}">
                <a16:creationId xmlns:a16="http://schemas.microsoft.com/office/drawing/2014/main" id="{0151343F-64C4-727A-FC2A-B1587AC2ADFE}"/>
              </a:ext>
            </a:extLst>
          </p:cNvPr>
          <p:cNvSpPr/>
          <p:nvPr/>
        </p:nvSpPr>
        <p:spPr>
          <a:xfrm>
            <a:off x="3429000" y="0"/>
            <a:ext cx="3432000" cy="3431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0" name="Pixel">
            <a:extLst>
              <a:ext uri="{FF2B5EF4-FFF2-40B4-BE49-F238E27FC236}">
                <a16:creationId xmlns:a16="http://schemas.microsoft.com/office/drawing/2014/main" id="{7DB115A0-2D6E-71EC-D4E5-806EE3BCF471}"/>
              </a:ext>
            </a:extLst>
          </p:cNvPr>
          <p:cNvSpPr/>
          <p:nvPr/>
        </p:nvSpPr>
        <p:spPr>
          <a:xfrm>
            <a:off x="0" y="3431118"/>
            <a:ext cx="3429000" cy="34268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4" name="Picture Placeholder">
            <a:extLst>
              <a:ext uri="{FF2B5EF4-FFF2-40B4-BE49-F238E27FC236}">
                <a16:creationId xmlns:a16="http://schemas.microsoft.com/office/drawing/2014/main" id="{923E9586-A16F-9921-016F-281C824EF5DC}"/>
              </a:ext>
            </a:extLst>
          </p:cNvPr>
          <p:cNvSpPr>
            <a:spLocks noGrp="1"/>
          </p:cNvSpPr>
          <p:nvPr>
            <p:ph type="pic" sz="quarter" idx="12"/>
          </p:nvPr>
        </p:nvSpPr>
        <p:spPr>
          <a:xfrm>
            <a:off x="6855884" y="0"/>
            <a:ext cx="5336117" cy="6858000"/>
          </a:xfrm>
          <a:solidFill>
            <a:schemeClr val="bg1">
              <a:lumMod val="85000"/>
              <a:lumOff val="15000"/>
            </a:schemeClr>
          </a:solidFill>
        </p:spPr>
        <p:txBody>
          <a:bodyPr/>
          <a:lstStyle>
            <a:lvl1pPr>
              <a:defRPr sz="1067">
                <a:noFill/>
              </a:defRPr>
            </a:lvl1pPr>
          </a:lstStyle>
          <a:p>
            <a:r>
              <a:rPr lang="fr-FR"/>
              <a:t>Cliquez sur l'icône pour ajouter une image</a:t>
            </a:r>
            <a:endParaRPr lang="en-GB"/>
          </a:p>
        </p:txBody>
      </p:sp>
      <p:sp>
        <p:nvSpPr>
          <p:cNvPr id="29" name="Text Placeholder">
            <a:extLst>
              <a:ext uri="{FF2B5EF4-FFF2-40B4-BE49-F238E27FC236}">
                <a16:creationId xmlns:a16="http://schemas.microsoft.com/office/drawing/2014/main" id="{F71DA2C9-B0AC-286A-12DA-941593F72D27}"/>
              </a:ext>
            </a:extLst>
          </p:cNvPr>
          <p:cNvSpPr>
            <a:spLocks noGrp="1"/>
          </p:cNvSpPr>
          <p:nvPr>
            <p:ph type="body" sz="quarter" idx="16" hasCustomPrompt="1"/>
          </p:nvPr>
        </p:nvSpPr>
        <p:spPr>
          <a:xfrm>
            <a:off x="3812118" y="2286000"/>
            <a:ext cx="2660649" cy="762000"/>
          </a:xfrm>
        </p:spPr>
        <p:txBody>
          <a:bodyPr/>
          <a:lstStyle>
            <a:lvl1pPr>
              <a:defRPr sz="1333">
                <a:solidFill>
                  <a:schemeClr val="tx1"/>
                </a:solidFill>
              </a:defRPr>
            </a:lvl1pPr>
          </a:lstStyle>
          <a:p>
            <a:pPr lvl="0"/>
            <a:r>
              <a:rPr lang="en-US"/>
              <a:t>Edit text</a:t>
            </a:r>
            <a:endParaRPr lang="fr-FR"/>
          </a:p>
        </p:txBody>
      </p:sp>
      <p:sp>
        <p:nvSpPr>
          <p:cNvPr id="28" name="Text Placeholder">
            <a:extLst>
              <a:ext uri="{FF2B5EF4-FFF2-40B4-BE49-F238E27FC236}">
                <a16:creationId xmlns:a16="http://schemas.microsoft.com/office/drawing/2014/main" id="{673A8D4D-9977-5D85-076D-8BFAF3E41CBE}"/>
              </a:ext>
            </a:extLst>
          </p:cNvPr>
          <p:cNvSpPr>
            <a:spLocks noGrp="1"/>
          </p:cNvSpPr>
          <p:nvPr>
            <p:ph type="body" sz="quarter" idx="15" hasCustomPrompt="1"/>
          </p:nvPr>
        </p:nvSpPr>
        <p:spPr>
          <a:xfrm>
            <a:off x="3803651" y="381000"/>
            <a:ext cx="2669116" cy="1526117"/>
          </a:xfrm>
        </p:spPr>
        <p:txBody>
          <a:bodyPr/>
          <a:lstStyle>
            <a:lvl1pPr>
              <a:defRPr sz="1867">
                <a:solidFill>
                  <a:schemeClr val="tx1"/>
                </a:solidFill>
              </a:defRPr>
            </a:lvl1pPr>
          </a:lstStyle>
          <a:p>
            <a:pPr lvl="0"/>
            <a:r>
              <a:rPr lang="en-US"/>
              <a:t>Edit text</a:t>
            </a:r>
            <a:endParaRPr lang="fr-FR"/>
          </a:p>
        </p:txBody>
      </p:sp>
      <p:sp>
        <p:nvSpPr>
          <p:cNvPr id="31" name="Text Placeholder">
            <a:extLst>
              <a:ext uri="{FF2B5EF4-FFF2-40B4-BE49-F238E27FC236}">
                <a16:creationId xmlns:a16="http://schemas.microsoft.com/office/drawing/2014/main" id="{537CFEEF-03E1-92EF-B8FA-13924B58324B}"/>
              </a:ext>
            </a:extLst>
          </p:cNvPr>
          <p:cNvSpPr>
            <a:spLocks noGrp="1"/>
          </p:cNvSpPr>
          <p:nvPr>
            <p:ph type="body" sz="quarter" idx="18" hasCustomPrompt="1"/>
          </p:nvPr>
        </p:nvSpPr>
        <p:spPr>
          <a:xfrm>
            <a:off x="3812117" y="5719233"/>
            <a:ext cx="2664883" cy="762000"/>
          </a:xfrm>
        </p:spPr>
        <p:txBody>
          <a:bodyPr/>
          <a:lstStyle>
            <a:lvl1pPr>
              <a:defRPr sz="1333">
                <a:solidFill>
                  <a:schemeClr val="bg1"/>
                </a:solidFill>
              </a:defRPr>
            </a:lvl1pPr>
          </a:lstStyle>
          <a:p>
            <a:pPr lvl="0"/>
            <a:r>
              <a:rPr lang="en-US"/>
              <a:t>Edit text</a:t>
            </a:r>
            <a:endParaRPr lang="fr-FR"/>
          </a:p>
        </p:txBody>
      </p:sp>
      <p:sp>
        <p:nvSpPr>
          <p:cNvPr id="30" name="Text Placeholder">
            <a:extLst>
              <a:ext uri="{FF2B5EF4-FFF2-40B4-BE49-F238E27FC236}">
                <a16:creationId xmlns:a16="http://schemas.microsoft.com/office/drawing/2014/main" id="{DB1D1DFA-5F34-7401-C467-77674DEF02FC}"/>
              </a:ext>
            </a:extLst>
          </p:cNvPr>
          <p:cNvSpPr>
            <a:spLocks noGrp="1"/>
          </p:cNvSpPr>
          <p:nvPr>
            <p:ph type="body" sz="quarter" idx="17" hasCustomPrompt="1"/>
          </p:nvPr>
        </p:nvSpPr>
        <p:spPr>
          <a:xfrm>
            <a:off x="3812117" y="3810001"/>
            <a:ext cx="2664883" cy="1524000"/>
          </a:xfrm>
        </p:spPr>
        <p:txBody>
          <a:bodyPr/>
          <a:lstStyle>
            <a:lvl1pPr>
              <a:defRPr sz="1867">
                <a:solidFill>
                  <a:schemeClr val="bg1"/>
                </a:solidFill>
              </a:defRPr>
            </a:lvl1pPr>
          </a:lstStyle>
          <a:p>
            <a:pPr lvl="0"/>
            <a:r>
              <a:rPr lang="en-US"/>
              <a:t>Edit text</a:t>
            </a:r>
            <a:endParaRPr lang="fr-FR"/>
          </a:p>
        </p:txBody>
      </p:sp>
      <p:sp>
        <p:nvSpPr>
          <p:cNvPr id="33" name="Text Placeholder">
            <a:extLst>
              <a:ext uri="{FF2B5EF4-FFF2-40B4-BE49-F238E27FC236}">
                <a16:creationId xmlns:a16="http://schemas.microsoft.com/office/drawing/2014/main" id="{45EF7319-8B7B-1164-D90A-549772B9E56D}"/>
              </a:ext>
            </a:extLst>
          </p:cNvPr>
          <p:cNvSpPr>
            <a:spLocks noGrp="1"/>
          </p:cNvSpPr>
          <p:nvPr>
            <p:ph type="body" sz="quarter" idx="20" hasCustomPrompt="1"/>
          </p:nvPr>
        </p:nvSpPr>
        <p:spPr>
          <a:xfrm>
            <a:off x="374653" y="5719233"/>
            <a:ext cx="2673348" cy="762000"/>
          </a:xfrm>
        </p:spPr>
        <p:txBody>
          <a:bodyPr/>
          <a:lstStyle>
            <a:lvl1pPr>
              <a:defRPr sz="1333">
                <a:solidFill>
                  <a:schemeClr val="bg1"/>
                </a:solidFill>
              </a:defRPr>
            </a:lvl1pPr>
          </a:lstStyle>
          <a:p>
            <a:pPr lvl="0"/>
            <a:r>
              <a:rPr lang="en-US"/>
              <a:t>Edit text</a:t>
            </a:r>
            <a:endParaRPr lang="fr-FR"/>
          </a:p>
        </p:txBody>
      </p:sp>
      <p:sp>
        <p:nvSpPr>
          <p:cNvPr id="32" name="Text Placeholder">
            <a:extLst>
              <a:ext uri="{FF2B5EF4-FFF2-40B4-BE49-F238E27FC236}">
                <a16:creationId xmlns:a16="http://schemas.microsoft.com/office/drawing/2014/main" id="{EAEC35F8-562A-05EB-C46C-B181C4CD096F}"/>
              </a:ext>
            </a:extLst>
          </p:cNvPr>
          <p:cNvSpPr>
            <a:spLocks noGrp="1"/>
          </p:cNvSpPr>
          <p:nvPr>
            <p:ph type="body" sz="quarter" idx="19" hasCustomPrompt="1"/>
          </p:nvPr>
        </p:nvSpPr>
        <p:spPr>
          <a:xfrm>
            <a:off x="374652" y="3810001"/>
            <a:ext cx="2673349" cy="1524000"/>
          </a:xfrm>
        </p:spPr>
        <p:txBody>
          <a:bodyPr/>
          <a:lstStyle>
            <a:lvl1pPr>
              <a:defRPr sz="1867">
                <a:solidFill>
                  <a:schemeClr val="bg1"/>
                </a:solidFill>
              </a:defRPr>
            </a:lvl1pPr>
          </a:lstStyle>
          <a:p>
            <a:pPr lvl="0"/>
            <a:r>
              <a:rPr lang="en-US"/>
              <a:t>Edit text</a:t>
            </a:r>
            <a:endParaRPr lang="fr-FR"/>
          </a:p>
        </p:txBody>
      </p:sp>
      <p:sp>
        <p:nvSpPr>
          <p:cNvPr id="27" name="Text Placeholder">
            <a:extLst>
              <a:ext uri="{FF2B5EF4-FFF2-40B4-BE49-F238E27FC236}">
                <a16:creationId xmlns:a16="http://schemas.microsoft.com/office/drawing/2014/main" id="{5F9923E4-90AB-73AB-87BF-21B6C27DB80C}"/>
              </a:ext>
            </a:extLst>
          </p:cNvPr>
          <p:cNvSpPr>
            <a:spLocks noGrp="1"/>
          </p:cNvSpPr>
          <p:nvPr>
            <p:ph type="body" sz="quarter" idx="14" hasCustomPrompt="1"/>
          </p:nvPr>
        </p:nvSpPr>
        <p:spPr>
          <a:xfrm>
            <a:off x="378885" y="2286000"/>
            <a:ext cx="2669116" cy="762000"/>
          </a:xfrm>
        </p:spPr>
        <p:txBody>
          <a:bodyPr/>
          <a:lstStyle>
            <a:lvl1pPr>
              <a:defRPr sz="1333">
                <a:solidFill>
                  <a:schemeClr val="bg1"/>
                </a:solidFill>
              </a:defRPr>
            </a:lvl1pPr>
          </a:lstStyle>
          <a:p>
            <a:pPr lvl="0"/>
            <a:r>
              <a:rPr lang="en-US"/>
              <a:t>Edit text</a:t>
            </a:r>
            <a:endParaRPr lang="fr-FR"/>
          </a:p>
        </p:txBody>
      </p:sp>
      <p:sp>
        <p:nvSpPr>
          <p:cNvPr id="26" name="Text Placeholder">
            <a:extLst>
              <a:ext uri="{FF2B5EF4-FFF2-40B4-BE49-F238E27FC236}">
                <a16:creationId xmlns:a16="http://schemas.microsoft.com/office/drawing/2014/main" id="{C3FEC966-5F11-A414-9CDE-B78062288175}"/>
              </a:ext>
            </a:extLst>
          </p:cNvPr>
          <p:cNvSpPr>
            <a:spLocks noGrp="1"/>
          </p:cNvSpPr>
          <p:nvPr>
            <p:ph type="body" sz="quarter" idx="13" hasCustomPrompt="1"/>
          </p:nvPr>
        </p:nvSpPr>
        <p:spPr>
          <a:xfrm>
            <a:off x="378885" y="381000"/>
            <a:ext cx="2669116" cy="1521883"/>
          </a:xfrm>
        </p:spPr>
        <p:txBody>
          <a:bodyPr/>
          <a:lstStyle>
            <a:lvl1pPr>
              <a:defRPr sz="1867">
                <a:solidFill>
                  <a:schemeClr val="bg1"/>
                </a:solidFill>
              </a:defRPr>
            </a:lvl1pPr>
          </a:lstStyle>
          <a:p>
            <a:pPr lvl="0"/>
            <a:r>
              <a:rPr lang="en-US"/>
              <a:t>Edit text</a:t>
            </a:r>
            <a:endParaRPr lang="fr-FR"/>
          </a:p>
        </p:txBody>
      </p:sp>
    </p:spTree>
    <p:extLst>
      <p:ext uri="{BB962C8B-B14F-4D97-AF65-F5344CB8AC3E}">
        <p14:creationId xmlns:p14="http://schemas.microsoft.com/office/powerpoint/2010/main" val="396384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tatic_Pixel_7">
    <p:spTree>
      <p:nvGrpSpPr>
        <p:cNvPr id="1" name=""/>
        <p:cNvGrpSpPr/>
        <p:nvPr/>
      </p:nvGrpSpPr>
      <p:grpSpPr>
        <a:xfrm>
          <a:off x="0" y="0"/>
          <a:ext cx="0" cy="0"/>
          <a:chOff x="0" y="0"/>
          <a:chExt cx="0" cy="0"/>
        </a:xfrm>
      </p:grpSpPr>
      <p:sp>
        <p:nvSpPr>
          <p:cNvPr id="22" name="Pixel">
            <a:extLst>
              <a:ext uri="{FF2B5EF4-FFF2-40B4-BE49-F238E27FC236}">
                <a16:creationId xmlns:a16="http://schemas.microsoft.com/office/drawing/2014/main" id="{CDD6D341-F243-BF09-A895-BC0BBFF1A8EB}"/>
              </a:ext>
            </a:extLst>
          </p:cNvPr>
          <p:cNvSpPr/>
          <p:nvPr/>
        </p:nvSpPr>
        <p:spPr>
          <a:xfrm>
            <a:off x="8760000" y="0"/>
            <a:ext cx="3432000" cy="3431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3" name="Pixel">
            <a:extLst>
              <a:ext uri="{FF2B5EF4-FFF2-40B4-BE49-F238E27FC236}">
                <a16:creationId xmlns:a16="http://schemas.microsoft.com/office/drawing/2014/main" id="{4ABFF5B9-B29B-7610-C4BC-9DC3BB48F7E5}"/>
              </a:ext>
            </a:extLst>
          </p:cNvPr>
          <p:cNvSpPr/>
          <p:nvPr/>
        </p:nvSpPr>
        <p:spPr>
          <a:xfrm>
            <a:off x="5333999" y="3431117"/>
            <a:ext cx="3426885" cy="34268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6" name="Pixel">
            <a:extLst>
              <a:ext uri="{FF2B5EF4-FFF2-40B4-BE49-F238E27FC236}">
                <a16:creationId xmlns:a16="http://schemas.microsoft.com/office/drawing/2014/main" id="{AE520F3F-52AE-C3D1-52FA-B8E592CA37A8}"/>
              </a:ext>
            </a:extLst>
          </p:cNvPr>
          <p:cNvSpPr/>
          <p:nvPr/>
        </p:nvSpPr>
        <p:spPr>
          <a:xfrm>
            <a:off x="5333999" y="0"/>
            <a:ext cx="3426885" cy="343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 name="Picture Placeholder">
            <a:extLst>
              <a:ext uri="{FF2B5EF4-FFF2-40B4-BE49-F238E27FC236}">
                <a16:creationId xmlns:a16="http://schemas.microsoft.com/office/drawing/2014/main" id="{4D03600F-C04D-0E3A-A609-73224437BB70}"/>
              </a:ext>
            </a:extLst>
          </p:cNvPr>
          <p:cNvSpPr>
            <a:spLocks noGrp="1"/>
          </p:cNvSpPr>
          <p:nvPr>
            <p:ph type="pic" sz="quarter" idx="29"/>
          </p:nvPr>
        </p:nvSpPr>
        <p:spPr>
          <a:xfrm>
            <a:off x="8760885" y="3431117"/>
            <a:ext cx="3431116" cy="3426883"/>
          </a:xfrm>
          <a:solidFill>
            <a:schemeClr val="bg1">
              <a:lumMod val="85000"/>
              <a:lumOff val="15000"/>
            </a:schemeClr>
          </a:solidFill>
        </p:spPr>
        <p:txBody>
          <a:bodyPr/>
          <a:lstStyle>
            <a:lvl1pPr>
              <a:defRPr>
                <a:noFill/>
              </a:defRPr>
            </a:lvl1pPr>
          </a:lstStyle>
          <a:p>
            <a:r>
              <a:rPr lang="fr-FR"/>
              <a:t>Cliquez sur l'icône pour ajouter une image</a:t>
            </a:r>
          </a:p>
        </p:txBody>
      </p:sp>
      <p:sp>
        <p:nvSpPr>
          <p:cNvPr id="5" name="Text Placeholder">
            <a:extLst>
              <a:ext uri="{FF2B5EF4-FFF2-40B4-BE49-F238E27FC236}">
                <a16:creationId xmlns:a16="http://schemas.microsoft.com/office/drawing/2014/main" id="{646573F9-8CBB-5AD4-01B4-E6CE996AC567}"/>
              </a:ext>
            </a:extLst>
          </p:cNvPr>
          <p:cNvSpPr>
            <a:spLocks noGrp="1"/>
          </p:cNvSpPr>
          <p:nvPr>
            <p:ph type="body" sz="quarter" idx="25" hasCustomPrompt="1"/>
          </p:nvPr>
        </p:nvSpPr>
        <p:spPr>
          <a:xfrm>
            <a:off x="9146117" y="3814236"/>
            <a:ext cx="2664883" cy="385232"/>
          </a:xfrm>
        </p:spPr>
        <p:txBody>
          <a:bodyPr/>
          <a:lstStyle>
            <a:lvl1pPr>
              <a:defRPr sz="1867">
                <a:solidFill>
                  <a:schemeClr val="tx1"/>
                </a:solidFill>
              </a:defRPr>
            </a:lvl1pPr>
          </a:lstStyle>
          <a:p>
            <a:pPr lvl="0"/>
            <a:r>
              <a:rPr lang="en-US"/>
              <a:t>Edit text</a:t>
            </a:r>
            <a:endParaRPr lang="fr-FR"/>
          </a:p>
        </p:txBody>
      </p:sp>
      <p:sp>
        <p:nvSpPr>
          <p:cNvPr id="36" name="Text Placeholder">
            <a:extLst>
              <a:ext uri="{FF2B5EF4-FFF2-40B4-BE49-F238E27FC236}">
                <a16:creationId xmlns:a16="http://schemas.microsoft.com/office/drawing/2014/main" id="{BD7D406E-2318-4080-0F4C-AA11DEC44874}"/>
              </a:ext>
            </a:extLst>
          </p:cNvPr>
          <p:cNvSpPr>
            <a:spLocks noGrp="1"/>
          </p:cNvSpPr>
          <p:nvPr>
            <p:ph type="body" sz="quarter" idx="24" hasCustomPrompt="1"/>
          </p:nvPr>
        </p:nvSpPr>
        <p:spPr>
          <a:xfrm>
            <a:off x="9146118" y="2290235"/>
            <a:ext cx="2660649" cy="755651"/>
          </a:xfrm>
        </p:spPr>
        <p:txBody>
          <a:bodyPr/>
          <a:lstStyle>
            <a:lvl1pPr>
              <a:defRPr sz="1333">
                <a:solidFill>
                  <a:schemeClr val="tx1"/>
                </a:solidFill>
              </a:defRPr>
            </a:lvl1pPr>
          </a:lstStyle>
          <a:p>
            <a:pPr lvl="0"/>
            <a:r>
              <a:rPr lang="en-US"/>
              <a:t>Edit text</a:t>
            </a:r>
            <a:endParaRPr lang="fr-FR"/>
          </a:p>
        </p:txBody>
      </p:sp>
      <p:sp>
        <p:nvSpPr>
          <p:cNvPr id="35" name="Text Placeholder">
            <a:extLst>
              <a:ext uri="{FF2B5EF4-FFF2-40B4-BE49-F238E27FC236}">
                <a16:creationId xmlns:a16="http://schemas.microsoft.com/office/drawing/2014/main" id="{924CF5F9-CD38-0E0D-3518-D7F400E04313}"/>
              </a:ext>
            </a:extLst>
          </p:cNvPr>
          <p:cNvSpPr>
            <a:spLocks noGrp="1"/>
          </p:cNvSpPr>
          <p:nvPr>
            <p:ph type="body" sz="quarter" idx="23" hasCustomPrompt="1"/>
          </p:nvPr>
        </p:nvSpPr>
        <p:spPr>
          <a:xfrm>
            <a:off x="9146118" y="385235"/>
            <a:ext cx="2660649" cy="1519768"/>
          </a:xfrm>
        </p:spPr>
        <p:txBody>
          <a:bodyPr/>
          <a:lstStyle>
            <a:lvl1pPr>
              <a:defRPr sz="1867">
                <a:solidFill>
                  <a:schemeClr val="tx1"/>
                </a:solidFill>
              </a:defRPr>
            </a:lvl1pPr>
          </a:lstStyle>
          <a:p>
            <a:pPr lvl="0"/>
            <a:r>
              <a:rPr lang="en-US"/>
              <a:t>Edit text</a:t>
            </a:r>
            <a:endParaRPr lang="fr-FR"/>
          </a:p>
        </p:txBody>
      </p:sp>
      <p:sp>
        <p:nvSpPr>
          <p:cNvPr id="40" name="Text Placeholder">
            <a:extLst>
              <a:ext uri="{FF2B5EF4-FFF2-40B4-BE49-F238E27FC236}">
                <a16:creationId xmlns:a16="http://schemas.microsoft.com/office/drawing/2014/main" id="{7DEB46B5-E732-38A9-8CBA-D33F26CDAB16}"/>
              </a:ext>
            </a:extLst>
          </p:cNvPr>
          <p:cNvSpPr>
            <a:spLocks noGrp="1"/>
          </p:cNvSpPr>
          <p:nvPr>
            <p:ph type="body" sz="quarter" idx="28" hasCustomPrompt="1"/>
          </p:nvPr>
        </p:nvSpPr>
        <p:spPr>
          <a:xfrm>
            <a:off x="5708653" y="5723468"/>
            <a:ext cx="2673348" cy="762000"/>
          </a:xfrm>
        </p:spPr>
        <p:txBody>
          <a:bodyPr/>
          <a:lstStyle>
            <a:lvl1pPr>
              <a:defRPr sz="1333">
                <a:solidFill>
                  <a:schemeClr val="bg1"/>
                </a:solidFill>
              </a:defRPr>
            </a:lvl1pPr>
          </a:lstStyle>
          <a:p>
            <a:pPr lvl="0"/>
            <a:r>
              <a:rPr lang="en-US"/>
              <a:t>Edit text</a:t>
            </a:r>
            <a:endParaRPr lang="fr-FR"/>
          </a:p>
        </p:txBody>
      </p:sp>
      <p:sp>
        <p:nvSpPr>
          <p:cNvPr id="39" name="Text Placeholder">
            <a:extLst>
              <a:ext uri="{FF2B5EF4-FFF2-40B4-BE49-F238E27FC236}">
                <a16:creationId xmlns:a16="http://schemas.microsoft.com/office/drawing/2014/main" id="{825B2F85-A8C0-8844-9DED-CDBDF9FCCAD2}"/>
              </a:ext>
            </a:extLst>
          </p:cNvPr>
          <p:cNvSpPr>
            <a:spLocks noGrp="1"/>
          </p:cNvSpPr>
          <p:nvPr>
            <p:ph type="body" sz="quarter" idx="27" hasCustomPrompt="1"/>
          </p:nvPr>
        </p:nvSpPr>
        <p:spPr>
          <a:xfrm>
            <a:off x="5708652" y="3814236"/>
            <a:ext cx="2673349" cy="1524000"/>
          </a:xfrm>
        </p:spPr>
        <p:txBody>
          <a:bodyPr/>
          <a:lstStyle>
            <a:lvl1pPr>
              <a:defRPr sz="1867">
                <a:solidFill>
                  <a:schemeClr val="bg1"/>
                </a:solidFill>
              </a:defRPr>
            </a:lvl1pPr>
          </a:lstStyle>
          <a:p>
            <a:pPr lvl="0"/>
            <a:r>
              <a:rPr lang="en-US"/>
              <a:t>Edit text</a:t>
            </a:r>
            <a:endParaRPr lang="fr-FR"/>
          </a:p>
        </p:txBody>
      </p:sp>
      <p:sp>
        <p:nvSpPr>
          <p:cNvPr id="7" name="Text Placeholder">
            <a:extLst>
              <a:ext uri="{FF2B5EF4-FFF2-40B4-BE49-F238E27FC236}">
                <a16:creationId xmlns:a16="http://schemas.microsoft.com/office/drawing/2014/main" id="{A10C6A75-CEA2-2331-7979-B23F737E3F4A}"/>
              </a:ext>
            </a:extLst>
          </p:cNvPr>
          <p:cNvSpPr>
            <a:spLocks noGrp="1"/>
          </p:cNvSpPr>
          <p:nvPr>
            <p:ph type="body" sz="quarter" idx="33" hasCustomPrompt="1"/>
          </p:nvPr>
        </p:nvSpPr>
        <p:spPr>
          <a:xfrm>
            <a:off x="5712885" y="2288469"/>
            <a:ext cx="2661884" cy="757416"/>
          </a:xfrm>
        </p:spPr>
        <p:txBody>
          <a:bodyPr/>
          <a:lstStyle>
            <a:lvl1pPr>
              <a:defRPr sz="1333">
                <a:solidFill>
                  <a:schemeClr val="bg1"/>
                </a:solidFill>
              </a:defRPr>
            </a:lvl1pPr>
          </a:lstStyle>
          <a:p>
            <a:pPr lvl="0"/>
            <a:r>
              <a:rPr lang="en-US"/>
              <a:t>Edit text</a:t>
            </a:r>
            <a:endParaRPr lang="fr-FR"/>
          </a:p>
        </p:txBody>
      </p:sp>
      <p:sp>
        <p:nvSpPr>
          <p:cNvPr id="9" name="Text Placeholder">
            <a:extLst>
              <a:ext uri="{FF2B5EF4-FFF2-40B4-BE49-F238E27FC236}">
                <a16:creationId xmlns:a16="http://schemas.microsoft.com/office/drawing/2014/main" id="{795342B2-8AEE-9FC2-1DAA-6B3BA4D154BD}"/>
              </a:ext>
            </a:extLst>
          </p:cNvPr>
          <p:cNvSpPr>
            <a:spLocks noGrp="1"/>
          </p:cNvSpPr>
          <p:nvPr>
            <p:ph type="body" sz="quarter" idx="31" hasCustomPrompt="1"/>
          </p:nvPr>
        </p:nvSpPr>
        <p:spPr>
          <a:xfrm>
            <a:off x="5712460" y="385236"/>
            <a:ext cx="2667424" cy="1521881"/>
          </a:xfrm>
        </p:spPr>
        <p:txBody>
          <a:bodyPr/>
          <a:lstStyle>
            <a:lvl1pPr>
              <a:defRPr sz="1867">
                <a:solidFill>
                  <a:schemeClr val="bg1"/>
                </a:solidFill>
              </a:defRPr>
            </a:lvl1pPr>
          </a:lstStyle>
          <a:p>
            <a:pPr lvl="0"/>
            <a:r>
              <a:rPr lang="en-US"/>
              <a:t>Edit text</a:t>
            </a:r>
            <a:endParaRPr lang="fr-FR"/>
          </a:p>
        </p:txBody>
      </p:sp>
      <p:sp>
        <p:nvSpPr>
          <p:cNvPr id="3" name="Content Placeholder">
            <a:extLst>
              <a:ext uri="{FF2B5EF4-FFF2-40B4-BE49-F238E27FC236}">
                <a16:creationId xmlns:a16="http://schemas.microsoft.com/office/drawing/2014/main" id="{0AE15282-38FF-397F-B987-2BC4EEAF2D41}"/>
              </a:ext>
            </a:extLst>
          </p:cNvPr>
          <p:cNvSpPr>
            <a:spLocks noGrp="1"/>
          </p:cNvSpPr>
          <p:nvPr>
            <p:ph idx="1" hasCustomPrompt="1"/>
          </p:nvPr>
        </p:nvSpPr>
        <p:spPr>
          <a:xfrm>
            <a:off x="759885" y="1907118"/>
            <a:ext cx="3810000" cy="3812116"/>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 name="Text Placeholder">
            <a:extLst>
              <a:ext uri="{FF2B5EF4-FFF2-40B4-BE49-F238E27FC236}">
                <a16:creationId xmlns:a16="http://schemas.microsoft.com/office/drawing/2014/main" id="{0243E551-0853-B145-F93E-82A654552B45}"/>
              </a:ext>
            </a:extLst>
          </p:cNvPr>
          <p:cNvSpPr>
            <a:spLocks noGrp="1"/>
          </p:cNvSpPr>
          <p:nvPr>
            <p:ph type="title" hasCustomPrompt="1"/>
          </p:nvPr>
        </p:nvSpPr>
        <p:spPr>
          <a:xfrm>
            <a:off x="759885" y="762001"/>
            <a:ext cx="3810000" cy="759884"/>
          </a:xfrm>
        </p:spPr>
        <p:txBody>
          <a:bodyPr/>
          <a:lstStyle>
            <a:lvl1pPr>
              <a:defRPr/>
            </a:lvl1pPr>
          </a:lstStyle>
          <a:p>
            <a:r>
              <a:rPr lang="en-US"/>
              <a:t>Edit title</a:t>
            </a:r>
            <a:endParaRPr lang="en-GB"/>
          </a:p>
        </p:txBody>
      </p:sp>
      <p:sp>
        <p:nvSpPr>
          <p:cNvPr id="11" name="Text Placeholder">
            <a:extLst>
              <a:ext uri="{FF2B5EF4-FFF2-40B4-BE49-F238E27FC236}">
                <a16:creationId xmlns:a16="http://schemas.microsoft.com/office/drawing/2014/main" id="{D5746BF9-C19F-D32D-73EA-53B167C04F57}"/>
              </a:ext>
            </a:extLst>
          </p:cNvPr>
          <p:cNvSpPr txBox="1">
            <a:spLocks/>
          </p:cNvSpPr>
          <p:nvPr/>
        </p:nvSpPr>
        <p:spPr>
          <a:xfrm>
            <a:off x="759884" y="6096000"/>
            <a:ext cx="381000" cy="380997"/>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12" name="Text Placeholder">
            <a:extLst>
              <a:ext uri="{FF2B5EF4-FFF2-40B4-BE49-F238E27FC236}">
                <a16:creationId xmlns:a16="http://schemas.microsoft.com/office/drawing/2014/main" id="{1021623D-6239-CFF3-33A1-E51B978167E3}"/>
              </a:ext>
            </a:extLst>
          </p:cNvPr>
          <p:cNvSpPr txBox="1"/>
          <p:nvPr/>
        </p:nvSpPr>
        <p:spPr>
          <a:xfrm>
            <a:off x="1140885" y="6317086"/>
            <a:ext cx="1139513" cy="164212"/>
          </a:xfrm>
          <a:prstGeom prst="rect">
            <a:avLst/>
          </a:prstGeom>
          <a:noFill/>
        </p:spPr>
        <p:txBody>
          <a:bodyPr wrap="squar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Orange Business</a:t>
            </a:r>
          </a:p>
        </p:txBody>
      </p:sp>
    </p:spTree>
    <p:extLst>
      <p:ext uri="{BB962C8B-B14F-4D97-AF65-F5344CB8AC3E}">
        <p14:creationId xmlns:p14="http://schemas.microsoft.com/office/powerpoint/2010/main" val="14079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tatic_Pixel_8">
    <p:spTree>
      <p:nvGrpSpPr>
        <p:cNvPr id="1" name=""/>
        <p:cNvGrpSpPr/>
        <p:nvPr/>
      </p:nvGrpSpPr>
      <p:grpSpPr>
        <a:xfrm>
          <a:off x="0" y="0"/>
          <a:ext cx="0" cy="0"/>
          <a:chOff x="0" y="0"/>
          <a:chExt cx="0" cy="0"/>
        </a:xfrm>
      </p:grpSpPr>
      <p:sp>
        <p:nvSpPr>
          <p:cNvPr id="22" name="Pixel">
            <a:extLst>
              <a:ext uri="{FF2B5EF4-FFF2-40B4-BE49-F238E27FC236}">
                <a16:creationId xmlns:a16="http://schemas.microsoft.com/office/drawing/2014/main" id="{CDD6D341-F243-BF09-A895-BC0BBFF1A8EB}"/>
              </a:ext>
            </a:extLst>
          </p:cNvPr>
          <p:cNvSpPr/>
          <p:nvPr/>
        </p:nvSpPr>
        <p:spPr>
          <a:xfrm>
            <a:off x="8760000" y="0"/>
            <a:ext cx="3432000" cy="3434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3" name="Pixel">
            <a:extLst>
              <a:ext uri="{FF2B5EF4-FFF2-40B4-BE49-F238E27FC236}">
                <a16:creationId xmlns:a16="http://schemas.microsoft.com/office/drawing/2014/main" id="{4ABFF5B9-B29B-7610-C4BC-9DC3BB48F7E5}"/>
              </a:ext>
            </a:extLst>
          </p:cNvPr>
          <p:cNvSpPr/>
          <p:nvPr/>
        </p:nvSpPr>
        <p:spPr>
          <a:xfrm>
            <a:off x="5333999" y="3431117"/>
            <a:ext cx="3426885" cy="34268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solidFill>
                <a:srgbClr val="000000"/>
              </a:solidFill>
            </a:endParaRPr>
          </a:p>
        </p:txBody>
      </p:sp>
      <p:sp>
        <p:nvSpPr>
          <p:cNvPr id="2" name="Picture Placeholder">
            <a:extLst>
              <a:ext uri="{FF2B5EF4-FFF2-40B4-BE49-F238E27FC236}">
                <a16:creationId xmlns:a16="http://schemas.microsoft.com/office/drawing/2014/main" id="{4D03600F-C04D-0E3A-A609-73224437BB70}"/>
              </a:ext>
            </a:extLst>
          </p:cNvPr>
          <p:cNvSpPr>
            <a:spLocks noGrp="1"/>
          </p:cNvSpPr>
          <p:nvPr>
            <p:ph type="pic" sz="quarter" idx="29"/>
          </p:nvPr>
        </p:nvSpPr>
        <p:spPr>
          <a:xfrm>
            <a:off x="8760885" y="3434080"/>
            <a:ext cx="3431116" cy="3423920"/>
          </a:xfrm>
          <a:solidFill>
            <a:schemeClr val="bg1">
              <a:lumMod val="85000"/>
              <a:lumOff val="15000"/>
            </a:schemeClr>
          </a:solidFill>
        </p:spPr>
        <p:txBody>
          <a:bodyPr/>
          <a:lstStyle>
            <a:lvl1pPr>
              <a:defRPr>
                <a:noFill/>
              </a:defRPr>
            </a:lvl1pPr>
          </a:lstStyle>
          <a:p>
            <a:r>
              <a:rPr lang="fr-FR"/>
              <a:t>Cliquez sur l'icône pour ajouter une image</a:t>
            </a:r>
          </a:p>
        </p:txBody>
      </p:sp>
      <p:sp>
        <p:nvSpPr>
          <p:cNvPr id="8" name="Picture Placeholder">
            <a:extLst>
              <a:ext uri="{FF2B5EF4-FFF2-40B4-BE49-F238E27FC236}">
                <a16:creationId xmlns:a16="http://schemas.microsoft.com/office/drawing/2014/main" id="{D5A9B168-4E56-B241-6DF0-F86736EC62D4}"/>
              </a:ext>
            </a:extLst>
          </p:cNvPr>
          <p:cNvSpPr>
            <a:spLocks noGrp="1"/>
          </p:cNvSpPr>
          <p:nvPr>
            <p:ph type="pic" sz="quarter" idx="30"/>
          </p:nvPr>
        </p:nvSpPr>
        <p:spPr>
          <a:xfrm>
            <a:off x="5333999" y="0"/>
            <a:ext cx="3425824" cy="3435883"/>
          </a:xfrm>
          <a:solidFill>
            <a:schemeClr val="bg1">
              <a:lumMod val="85000"/>
              <a:lumOff val="15000"/>
            </a:schemeClr>
          </a:solidFill>
        </p:spPr>
        <p:txBody>
          <a:bodyPr/>
          <a:lstStyle>
            <a:lvl1pPr>
              <a:defRPr>
                <a:noFill/>
              </a:defRPr>
            </a:lvl1pPr>
          </a:lstStyle>
          <a:p>
            <a:r>
              <a:rPr lang="fr-FR"/>
              <a:t>Cliquez sur l'icône pour ajouter une image</a:t>
            </a:r>
          </a:p>
        </p:txBody>
      </p:sp>
      <p:sp>
        <p:nvSpPr>
          <p:cNvPr id="5" name="Text Placeholder">
            <a:extLst>
              <a:ext uri="{FF2B5EF4-FFF2-40B4-BE49-F238E27FC236}">
                <a16:creationId xmlns:a16="http://schemas.microsoft.com/office/drawing/2014/main" id="{646573F9-8CBB-5AD4-01B4-E6CE996AC567}"/>
              </a:ext>
            </a:extLst>
          </p:cNvPr>
          <p:cNvSpPr>
            <a:spLocks noGrp="1"/>
          </p:cNvSpPr>
          <p:nvPr>
            <p:ph type="body" sz="quarter" idx="25" hasCustomPrompt="1"/>
          </p:nvPr>
        </p:nvSpPr>
        <p:spPr>
          <a:xfrm>
            <a:off x="9146117" y="3814236"/>
            <a:ext cx="2664883" cy="385232"/>
          </a:xfrm>
        </p:spPr>
        <p:txBody>
          <a:bodyPr/>
          <a:lstStyle>
            <a:lvl1pPr>
              <a:defRPr sz="1867">
                <a:solidFill>
                  <a:schemeClr val="tx1"/>
                </a:solidFill>
              </a:defRPr>
            </a:lvl1pPr>
          </a:lstStyle>
          <a:p>
            <a:pPr lvl="0"/>
            <a:r>
              <a:rPr lang="en-US"/>
              <a:t>Edit text</a:t>
            </a:r>
            <a:endParaRPr lang="fr-FR"/>
          </a:p>
        </p:txBody>
      </p:sp>
      <p:sp>
        <p:nvSpPr>
          <p:cNvPr id="40" name="Text Placeholder">
            <a:extLst>
              <a:ext uri="{FF2B5EF4-FFF2-40B4-BE49-F238E27FC236}">
                <a16:creationId xmlns:a16="http://schemas.microsoft.com/office/drawing/2014/main" id="{7DEB46B5-E732-38A9-8CBA-D33F26CDAB16}"/>
              </a:ext>
            </a:extLst>
          </p:cNvPr>
          <p:cNvSpPr>
            <a:spLocks noGrp="1"/>
          </p:cNvSpPr>
          <p:nvPr>
            <p:ph type="body" sz="quarter" idx="28" hasCustomPrompt="1"/>
          </p:nvPr>
        </p:nvSpPr>
        <p:spPr>
          <a:xfrm>
            <a:off x="5708653" y="5723468"/>
            <a:ext cx="2673348" cy="762000"/>
          </a:xfrm>
        </p:spPr>
        <p:txBody>
          <a:bodyPr/>
          <a:lstStyle>
            <a:lvl1pPr>
              <a:defRPr sz="1333">
                <a:solidFill>
                  <a:schemeClr val="bg1"/>
                </a:solidFill>
              </a:defRPr>
            </a:lvl1pPr>
          </a:lstStyle>
          <a:p>
            <a:pPr lvl="0"/>
            <a:r>
              <a:rPr lang="en-US"/>
              <a:t>Edit text</a:t>
            </a:r>
            <a:endParaRPr lang="fr-FR"/>
          </a:p>
        </p:txBody>
      </p:sp>
      <p:sp>
        <p:nvSpPr>
          <p:cNvPr id="39" name="Text Placeholder">
            <a:extLst>
              <a:ext uri="{FF2B5EF4-FFF2-40B4-BE49-F238E27FC236}">
                <a16:creationId xmlns:a16="http://schemas.microsoft.com/office/drawing/2014/main" id="{825B2F85-A8C0-8844-9DED-CDBDF9FCCAD2}"/>
              </a:ext>
            </a:extLst>
          </p:cNvPr>
          <p:cNvSpPr>
            <a:spLocks noGrp="1"/>
          </p:cNvSpPr>
          <p:nvPr>
            <p:ph type="body" sz="quarter" idx="27" hasCustomPrompt="1"/>
          </p:nvPr>
        </p:nvSpPr>
        <p:spPr>
          <a:xfrm>
            <a:off x="5708652" y="3814236"/>
            <a:ext cx="2673349" cy="1524000"/>
          </a:xfrm>
        </p:spPr>
        <p:txBody>
          <a:bodyPr/>
          <a:lstStyle>
            <a:lvl1pPr>
              <a:defRPr sz="1867">
                <a:solidFill>
                  <a:schemeClr val="bg1"/>
                </a:solidFill>
              </a:defRPr>
            </a:lvl1pPr>
          </a:lstStyle>
          <a:p>
            <a:pPr lvl="0"/>
            <a:r>
              <a:rPr lang="en-US"/>
              <a:t>Edit text</a:t>
            </a:r>
            <a:endParaRPr lang="fr-FR"/>
          </a:p>
        </p:txBody>
      </p:sp>
      <p:sp>
        <p:nvSpPr>
          <p:cNvPr id="11" name="Text Placeholder">
            <a:extLst>
              <a:ext uri="{FF2B5EF4-FFF2-40B4-BE49-F238E27FC236}">
                <a16:creationId xmlns:a16="http://schemas.microsoft.com/office/drawing/2014/main" id="{8A2AF84C-DF35-7E1D-36A5-A6F25F1010DC}"/>
              </a:ext>
            </a:extLst>
          </p:cNvPr>
          <p:cNvSpPr>
            <a:spLocks noGrp="1"/>
          </p:cNvSpPr>
          <p:nvPr>
            <p:ph type="body" sz="quarter" idx="24" hasCustomPrompt="1"/>
          </p:nvPr>
        </p:nvSpPr>
        <p:spPr>
          <a:xfrm>
            <a:off x="9146118" y="2290235"/>
            <a:ext cx="2660649" cy="755651"/>
          </a:xfrm>
        </p:spPr>
        <p:txBody>
          <a:bodyPr/>
          <a:lstStyle>
            <a:lvl1pPr>
              <a:defRPr sz="1333">
                <a:solidFill>
                  <a:schemeClr val="tx1"/>
                </a:solidFill>
              </a:defRPr>
            </a:lvl1pPr>
          </a:lstStyle>
          <a:p>
            <a:pPr lvl="0"/>
            <a:r>
              <a:rPr lang="en-US"/>
              <a:t>Edit text</a:t>
            </a:r>
            <a:endParaRPr lang="fr-FR"/>
          </a:p>
        </p:txBody>
      </p:sp>
      <p:sp>
        <p:nvSpPr>
          <p:cNvPr id="10" name="Text Placeholder">
            <a:extLst>
              <a:ext uri="{FF2B5EF4-FFF2-40B4-BE49-F238E27FC236}">
                <a16:creationId xmlns:a16="http://schemas.microsoft.com/office/drawing/2014/main" id="{7811CD6A-DEAC-8126-CBBB-42E67D376F83}"/>
              </a:ext>
            </a:extLst>
          </p:cNvPr>
          <p:cNvSpPr>
            <a:spLocks noGrp="1"/>
          </p:cNvSpPr>
          <p:nvPr>
            <p:ph type="body" sz="quarter" idx="23" hasCustomPrompt="1"/>
          </p:nvPr>
        </p:nvSpPr>
        <p:spPr>
          <a:xfrm>
            <a:off x="9146118" y="385235"/>
            <a:ext cx="2660649" cy="1519768"/>
          </a:xfrm>
        </p:spPr>
        <p:txBody>
          <a:bodyPr/>
          <a:lstStyle>
            <a:lvl1pPr>
              <a:defRPr sz="1867">
                <a:solidFill>
                  <a:schemeClr val="tx1"/>
                </a:solidFill>
              </a:defRPr>
            </a:lvl1pPr>
          </a:lstStyle>
          <a:p>
            <a:pPr lvl="0"/>
            <a:r>
              <a:rPr lang="en-US"/>
              <a:t>Edit text</a:t>
            </a:r>
            <a:endParaRPr lang="fr-FR"/>
          </a:p>
        </p:txBody>
      </p:sp>
      <p:sp>
        <p:nvSpPr>
          <p:cNvPr id="9" name="Text Placeholder">
            <a:extLst>
              <a:ext uri="{FF2B5EF4-FFF2-40B4-BE49-F238E27FC236}">
                <a16:creationId xmlns:a16="http://schemas.microsoft.com/office/drawing/2014/main" id="{795342B2-8AEE-9FC2-1DAA-6B3BA4D154BD}"/>
              </a:ext>
            </a:extLst>
          </p:cNvPr>
          <p:cNvSpPr>
            <a:spLocks noGrp="1"/>
          </p:cNvSpPr>
          <p:nvPr>
            <p:ph type="body" sz="quarter" idx="31" hasCustomPrompt="1"/>
          </p:nvPr>
        </p:nvSpPr>
        <p:spPr>
          <a:xfrm>
            <a:off x="5712884" y="381353"/>
            <a:ext cx="2667000" cy="385232"/>
          </a:xfrm>
        </p:spPr>
        <p:txBody>
          <a:bodyPr/>
          <a:lstStyle>
            <a:lvl1pPr>
              <a:defRPr sz="1867">
                <a:solidFill>
                  <a:schemeClr val="tx1"/>
                </a:solidFill>
              </a:defRPr>
            </a:lvl1pPr>
          </a:lstStyle>
          <a:p>
            <a:pPr lvl="0"/>
            <a:r>
              <a:rPr lang="en-US"/>
              <a:t>Edit text</a:t>
            </a:r>
            <a:endParaRPr lang="fr-FR"/>
          </a:p>
        </p:txBody>
      </p:sp>
      <p:sp>
        <p:nvSpPr>
          <p:cNvPr id="3" name="Content Placeholder">
            <a:extLst>
              <a:ext uri="{FF2B5EF4-FFF2-40B4-BE49-F238E27FC236}">
                <a16:creationId xmlns:a16="http://schemas.microsoft.com/office/drawing/2014/main" id="{0AE15282-38FF-397F-B987-2BC4EEAF2D41}"/>
              </a:ext>
            </a:extLst>
          </p:cNvPr>
          <p:cNvSpPr>
            <a:spLocks noGrp="1"/>
          </p:cNvSpPr>
          <p:nvPr>
            <p:ph idx="1" hasCustomPrompt="1"/>
          </p:nvPr>
        </p:nvSpPr>
        <p:spPr>
          <a:xfrm>
            <a:off x="759885" y="1907118"/>
            <a:ext cx="3810000" cy="3812116"/>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 name="Text Placeholder">
            <a:extLst>
              <a:ext uri="{FF2B5EF4-FFF2-40B4-BE49-F238E27FC236}">
                <a16:creationId xmlns:a16="http://schemas.microsoft.com/office/drawing/2014/main" id="{0243E551-0853-B145-F93E-82A654552B45}"/>
              </a:ext>
            </a:extLst>
          </p:cNvPr>
          <p:cNvSpPr>
            <a:spLocks noGrp="1"/>
          </p:cNvSpPr>
          <p:nvPr>
            <p:ph type="title" hasCustomPrompt="1"/>
          </p:nvPr>
        </p:nvSpPr>
        <p:spPr>
          <a:xfrm>
            <a:off x="759885" y="762001"/>
            <a:ext cx="3810000" cy="759884"/>
          </a:xfrm>
        </p:spPr>
        <p:txBody>
          <a:bodyPr/>
          <a:lstStyle>
            <a:lvl1pPr>
              <a:defRPr/>
            </a:lvl1pPr>
          </a:lstStyle>
          <a:p>
            <a:r>
              <a:rPr lang="en-US"/>
              <a:t>Edit title</a:t>
            </a:r>
            <a:endParaRPr lang="en-GB"/>
          </a:p>
        </p:txBody>
      </p:sp>
      <p:sp>
        <p:nvSpPr>
          <p:cNvPr id="6" name="Text Placeholder">
            <a:extLst>
              <a:ext uri="{FF2B5EF4-FFF2-40B4-BE49-F238E27FC236}">
                <a16:creationId xmlns:a16="http://schemas.microsoft.com/office/drawing/2014/main" id="{C88CDC4D-13BA-0837-AAE5-302207A740BE}"/>
              </a:ext>
            </a:extLst>
          </p:cNvPr>
          <p:cNvSpPr txBox="1">
            <a:spLocks/>
          </p:cNvSpPr>
          <p:nvPr/>
        </p:nvSpPr>
        <p:spPr>
          <a:xfrm>
            <a:off x="759884" y="6096000"/>
            <a:ext cx="381000" cy="380997"/>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7" name="Text Placeholder">
            <a:extLst>
              <a:ext uri="{FF2B5EF4-FFF2-40B4-BE49-F238E27FC236}">
                <a16:creationId xmlns:a16="http://schemas.microsoft.com/office/drawing/2014/main" id="{1A11EE72-C023-8C3A-31A5-580A47CC27E4}"/>
              </a:ext>
            </a:extLst>
          </p:cNvPr>
          <p:cNvSpPr txBox="1"/>
          <p:nvPr/>
        </p:nvSpPr>
        <p:spPr>
          <a:xfrm>
            <a:off x="1140885" y="6317086"/>
            <a:ext cx="1139513" cy="164212"/>
          </a:xfrm>
          <a:prstGeom prst="rect">
            <a:avLst/>
          </a:prstGeom>
          <a:noFill/>
        </p:spPr>
        <p:txBody>
          <a:bodyPr wrap="squar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Orange Business</a:t>
            </a:r>
          </a:p>
        </p:txBody>
      </p:sp>
    </p:spTree>
    <p:extLst>
      <p:ext uri="{BB962C8B-B14F-4D97-AF65-F5344CB8AC3E}">
        <p14:creationId xmlns:p14="http://schemas.microsoft.com/office/powerpoint/2010/main" val="1285640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Animated_Pixel_1">
    <p:spTree>
      <p:nvGrpSpPr>
        <p:cNvPr id="1" name=""/>
        <p:cNvGrpSpPr/>
        <p:nvPr/>
      </p:nvGrpSpPr>
      <p:grpSpPr>
        <a:xfrm>
          <a:off x="0" y="0"/>
          <a:ext cx="0" cy="0"/>
          <a:chOff x="0" y="0"/>
          <a:chExt cx="0" cy="0"/>
        </a:xfrm>
      </p:grpSpPr>
      <p:pic>
        <p:nvPicPr>
          <p:cNvPr id="3" name="Pixels">
            <a:extLst>
              <a:ext uri="{FF2B5EF4-FFF2-40B4-BE49-F238E27FC236}">
                <a16:creationId xmlns:a16="http://schemas.microsoft.com/office/drawing/2014/main" id="{F2981F13-86A0-72CC-D2F6-ACD30A2971D0}"/>
              </a:ext>
            </a:extLst>
          </p:cNvPr>
          <p:cNvPicPr/>
          <p:nvPr/>
        </p:nvPicPr>
        <p:blipFill>
          <a:blip r:embed="rId2" cstate="email">
            <a:extLst>
              <a:ext uri="{28A0092B-C50C-407E-A947-70E740481C1C}">
                <a14:useLocalDpi xmlns:a14="http://schemas.microsoft.com/office/drawing/2010/main"/>
              </a:ext>
            </a:extLst>
          </a:blip>
          <a:srcRect/>
          <a:stretch/>
        </p:blipFill>
        <p:spPr>
          <a:xfrm>
            <a:off x="-1060" y="0"/>
            <a:ext cx="12192000" cy="6858000"/>
          </a:xfrm>
          <a:prstGeom prst="rect">
            <a:avLst/>
          </a:prstGeom>
        </p:spPr>
      </p:pic>
      <p:sp>
        <p:nvSpPr>
          <p:cNvPr id="5" name="Text Placeholder">
            <a:extLst>
              <a:ext uri="{FF2B5EF4-FFF2-40B4-BE49-F238E27FC236}">
                <a16:creationId xmlns:a16="http://schemas.microsoft.com/office/drawing/2014/main" id="{AC1E98B7-AAF0-0B85-F6DC-61FF4D4FE7C9}"/>
              </a:ext>
            </a:extLst>
          </p:cNvPr>
          <p:cNvSpPr>
            <a:spLocks noGrp="1"/>
          </p:cNvSpPr>
          <p:nvPr>
            <p:ph type="body" sz="quarter" idx="10" hasCustomPrompt="1"/>
          </p:nvPr>
        </p:nvSpPr>
        <p:spPr>
          <a:xfrm>
            <a:off x="759885" y="1907117"/>
            <a:ext cx="4952999" cy="3048000"/>
          </a:xfrm>
        </p:spPr>
        <p:txBody>
          <a:body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 name="Text Placeholder">
            <a:extLst>
              <a:ext uri="{FF2B5EF4-FFF2-40B4-BE49-F238E27FC236}">
                <a16:creationId xmlns:a16="http://schemas.microsoft.com/office/drawing/2014/main" id="{629E56A1-2F27-D53F-DC95-853288E22EC5}"/>
              </a:ext>
            </a:extLst>
          </p:cNvPr>
          <p:cNvSpPr>
            <a:spLocks noGrp="1"/>
          </p:cNvSpPr>
          <p:nvPr>
            <p:ph type="title" hasCustomPrompt="1"/>
          </p:nvPr>
        </p:nvSpPr>
        <p:spPr>
          <a:xfrm>
            <a:off x="759885" y="762001"/>
            <a:ext cx="4953001" cy="759883"/>
          </a:xfrm>
        </p:spPr>
        <p:txBody>
          <a:bodyPr/>
          <a:lstStyle>
            <a:lvl1pPr>
              <a:defRPr/>
            </a:lvl1pPr>
          </a:lstStyle>
          <a:p>
            <a:r>
              <a:rPr lang="en-US"/>
              <a:t>Edit title</a:t>
            </a:r>
            <a:endParaRPr lang="en-GB"/>
          </a:p>
        </p:txBody>
      </p:sp>
      <p:sp>
        <p:nvSpPr>
          <p:cNvPr id="2" name="Picture Placeholder">
            <a:extLst>
              <a:ext uri="{FF2B5EF4-FFF2-40B4-BE49-F238E27FC236}">
                <a16:creationId xmlns:a16="http://schemas.microsoft.com/office/drawing/2014/main" id="{8C7226FF-85AD-CCEE-0E66-2E8B4FADA6DB}"/>
              </a:ext>
            </a:extLst>
          </p:cNvPr>
          <p:cNvSpPr>
            <a:spLocks noGrp="1"/>
          </p:cNvSpPr>
          <p:nvPr>
            <p:ph type="pic" sz="quarter" idx="17"/>
          </p:nvPr>
        </p:nvSpPr>
        <p:spPr>
          <a:xfrm>
            <a:off x="7617885" y="1524000"/>
            <a:ext cx="3050116" cy="3048000"/>
          </a:xfrm>
          <a:noFill/>
        </p:spPr>
        <p:txBody>
          <a:bodyPr/>
          <a:lstStyle>
            <a:lvl1pPr>
              <a:defRPr>
                <a:noFill/>
              </a:defRPr>
            </a:lvl1pPr>
          </a:lstStyle>
          <a:p>
            <a:r>
              <a:rPr lang="fr-FR"/>
              <a:t>Cliquez sur l'icône pour ajouter une image</a:t>
            </a:r>
          </a:p>
        </p:txBody>
      </p:sp>
    </p:spTree>
    <p:extLst>
      <p:ext uri="{BB962C8B-B14F-4D97-AF65-F5344CB8AC3E}">
        <p14:creationId xmlns:p14="http://schemas.microsoft.com/office/powerpoint/2010/main" val="76984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Animated_Pixel_2">
    <p:spTree>
      <p:nvGrpSpPr>
        <p:cNvPr id="1" name=""/>
        <p:cNvGrpSpPr/>
        <p:nvPr/>
      </p:nvGrpSpPr>
      <p:grpSpPr>
        <a:xfrm>
          <a:off x="0" y="0"/>
          <a:ext cx="0" cy="0"/>
          <a:chOff x="0" y="0"/>
          <a:chExt cx="0" cy="0"/>
        </a:xfrm>
      </p:grpSpPr>
      <p:pic>
        <p:nvPicPr>
          <p:cNvPr id="311" name="Pixels">
            <a:extLst>
              <a:ext uri="{FF2B5EF4-FFF2-40B4-BE49-F238E27FC236}">
                <a16:creationId xmlns:a16="http://schemas.microsoft.com/office/drawing/2014/main" id="{71397095-3CA8-67B9-E273-1EC44E7D8A84}"/>
              </a:ext>
            </a:extLst>
          </p:cNvPr>
          <p:cNvPicPr>
            <a:picLocks noGrp="1" noRot="1" noMove="1" noResize="1" noEditPoints="1" noAdjustHandles="1" noChangeArrowheads="1" noChangeShapeType="1" noCrop="1"/>
          </p:cNvPicPr>
          <p:nvPr/>
        </p:nvPicPr>
        <p:blipFill>
          <a:blip r:embed="rId2" cstate="email">
            <a:extLst>
              <a:ext uri="{28A0092B-C50C-407E-A947-70E740481C1C}">
                <a14:useLocalDpi xmlns:a14="http://schemas.microsoft.com/office/drawing/2010/main"/>
              </a:ext>
            </a:extLst>
          </a:blip>
          <a:srcRect/>
          <a:stretch/>
        </p:blipFill>
        <p:spPr>
          <a:xfrm>
            <a:off x="0" y="0"/>
            <a:ext cx="12202667" cy="6864000"/>
          </a:xfrm>
          <a:prstGeom prst="rect">
            <a:avLst/>
          </a:prstGeom>
        </p:spPr>
      </p:pic>
      <p:sp>
        <p:nvSpPr>
          <p:cNvPr id="17" name="Text Placeholder"/>
          <p:cNvSpPr>
            <a:spLocks noGrp="1"/>
          </p:cNvSpPr>
          <p:nvPr>
            <p:ph type="body" sz="quarter" idx="16" hasCustomPrompt="1"/>
          </p:nvPr>
        </p:nvSpPr>
        <p:spPr>
          <a:xfrm>
            <a:off x="759885" y="3814234"/>
            <a:ext cx="4193116" cy="753532"/>
          </a:xfrm>
        </p:spPr>
        <p:txBody>
          <a:bodyPr/>
          <a:lstStyle>
            <a:lvl1pPr>
              <a:defRPr/>
            </a:lvl1pPr>
          </a:lstStyle>
          <a:p>
            <a:pPr lvl="0"/>
            <a:r>
              <a:rPr lang="en-US"/>
              <a:t>Edit text</a:t>
            </a:r>
          </a:p>
          <a:p>
            <a:pPr lvl="1"/>
            <a:r>
              <a:rPr lang="en-US"/>
              <a:t>Second level</a:t>
            </a:r>
          </a:p>
        </p:txBody>
      </p:sp>
      <p:sp>
        <p:nvSpPr>
          <p:cNvPr id="2" name="Text Placeholder"/>
          <p:cNvSpPr>
            <a:spLocks noGrp="1"/>
          </p:cNvSpPr>
          <p:nvPr>
            <p:ph type="ctrTitle" hasCustomPrompt="1"/>
          </p:nvPr>
        </p:nvSpPr>
        <p:spPr>
          <a:xfrm>
            <a:off x="759885" y="762001"/>
            <a:ext cx="4193116" cy="2669116"/>
          </a:xfrm>
        </p:spPr>
        <p:txBody>
          <a:bodyPr>
            <a:noAutofit/>
          </a:bodyPr>
          <a:lstStyle>
            <a:lvl1pPr algn="l">
              <a:lnSpc>
                <a:spcPct val="85000"/>
              </a:lnSpc>
              <a:defRPr sz="6000" baseline="0">
                <a:solidFill>
                  <a:schemeClr val="accent1"/>
                </a:solidFill>
              </a:defRPr>
            </a:lvl1pPr>
          </a:lstStyle>
          <a:p>
            <a:r>
              <a:rPr lang="en-US"/>
              <a:t>Edit title</a:t>
            </a:r>
            <a:endParaRPr lang="en-GB"/>
          </a:p>
        </p:txBody>
      </p:sp>
    </p:spTree>
    <p:extLst>
      <p:ext uri="{BB962C8B-B14F-4D97-AF65-F5344CB8AC3E}">
        <p14:creationId xmlns:p14="http://schemas.microsoft.com/office/powerpoint/2010/main" val="93214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68" y="1739900"/>
            <a:ext cx="5420785" cy="4220632"/>
          </a:xfrm>
        </p:spPr>
        <p:txBody>
          <a:bodyPr/>
          <a:lstStyle>
            <a:lvl1pPr>
              <a:lnSpc>
                <a:spcPct val="90000"/>
              </a:lnSpc>
              <a:spcAft>
                <a:spcPts val="1067"/>
              </a:spcAft>
              <a:defRPr>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2"/>
          <p:cNvSpPr>
            <a:spLocks noGrp="1"/>
          </p:cNvSpPr>
          <p:nvPr>
            <p:ph idx="10"/>
          </p:nvPr>
        </p:nvSpPr>
        <p:spPr>
          <a:xfrm>
            <a:off x="6318253" y="1739900"/>
            <a:ext cx="5420785" cy="4220632"/>
          </a:xfrm>
        </p:spPr>
        <p:txBody>
          <a:bodyPr/>
          <a:lstStyle>
            <a:lvl1pPr>
              <a:lnSpc>
                <a:spcPct val="90000"/>
              </a:lnSpc>
              <a:spcAft>
                <a:spcPts val="1067"/>
              </a:spcAft>
              <a:defRPr>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728314911"/>
      </p:ext>
    </p:extLst>
  </p:cSld>
  <p:clrMapOvr>
    <a:masterClrMapping/>
  </p:clrMapOvr>
  <p:transition spd="med">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Animated_Pixel_3">
    <p:spTree>
      <p:nvGrpSpPr>
        <p:cNvPr id="1" name=""/>
        <p:cNvGrpSpPr/>
        <p:nvPr/>
      </p:nvGrpSpPr>
      <p:grpSpPr>
        <a:xfrm>
          <a:off x="0" y="0"/>
          <a:ext cx="0" cy="0"/>
          <a:chOff x="0" y="0"/>
          <a:chExt cx="0" cy="0"/>
        </a:xfrm>
      </p:grpSpPr>
      <p:pic>
        <p:nvPicPr>
          <p:cNvPr id="166" name="Pixels">
            <a:extLst>
              <a:ext uri="{FF2B5EF4-FFF2-40B4-BE49-F238E27FC236}">
                <a16:creationId xmlns:a16="http://schemas.microsoft.com/office/drawing/2014/main" id="{E2048AC1-DF9D-4A62-2E92-890FBD4F8C6C}"/>
              </a:ext>
            </a:extLst>
          </p:cNvPr>
          <p:cNvPicPr>
            <a:picLocks noGrp="1" noRot="1" noMove="1" noResize="1" noEditPoints="1" noAdjustHandles="1" noChangeArrowheads="1" noChangeShapeType="1" noCrop="1"/>
          </p:cNvPicPr>
          <p:nvPr/>
        </p:nvPicPr>
        <p:blipFill>
          <a:blip r:embed="rId2" cstate="email">
            <a:extLst>
              <a:ext uri="{28A0092B-C50C-407E-A947-70E740481C1C}">
                <a14:useLocalDpi xmlns:a14="http://schemas.microsoft.com/office/drawing/2010/main"/>
              </a:ext>
            </a:extLst>
          </a:blip>
          <a:srcRect/>
          <a:stretch/>
        </p:blipFill>
        <p:spPr>
          <a:xfrm>
            <a:off x="1" y="1"/>
            <a:ext cx="12196233" cy="6860380"/>
          </a:xfrm>
          <a:prstGeom prst="rect">
            <a:avLst/>
          </a:prstGeom>
        </p:spPr>
      </p:pic>
      <p:sp>
        <p:nvSpPr>
          <p:cNvPr id="169" name="Picture Placeholder">
            <a:extLst>
              <a:ext uri="{FF2B5EF4-FFF2-40B4-BE49-F238E27FC236}">
                <a16:creationId xmlns:a16="http://schemas.microsoft.com/office/drawing/2014/main" id="{8CB3B60B-11F8-7BC2-B88F-08BA3BD81B64}"/>
              </a:ext>
            </a:extLst>
          </p:cNvPr>
          <p:cNvSpPr>
            <a:spLocks noGrp="1"/>
          </p:cNvSpPr>
          <p:nvPr>
            <p:ph type="pic" sz="quarter" idx="17"/>
          </p:nvPr>
        </p:nvSpPr>
        <p:spPr>
          <a:xfrm>
            <a:off x="7617885" y="1524000"/>
            <a:ext cx="3050116" cy="3048000"/>
          </a:xfrm>
          <a:solidFill>
            <a:schemeClr val="accent1"/>
          </a:solidFill>
        </p:spPr>
        <p:txBody>
          <a:bodyPr/>
          <a:lstStyle>
            <a:lvl1pPr>
              <a:defRPr>
                <a:noFill/>
              </a:defRPr>
            </a:lvl1pPr>
          </a:lstStyle>
          <a:p>
            <a:r>
              <a:rPr lang="fr-FR"/>
              <a:t>Cliquez sur l'icône pour ajouter une image</a:t>
            </a:r>
          </a:p>
        </p:txBody>
      </p:sp>
      <p:sp>
        <p:nvSpPr>
          <p:cNvPr id="17" name="Text Placeholder"/>
          <p:cNvSpPr>
            <a:spLocks noGrp="1"/>
          </p:cNvSpPr>
          <p:nvPr>
            <p:ph type="body" sz="quarter" idx="16" hasCustomPrompt="1"/>
          </p:nvPr>
        </p:nvSpPr>
        <p:spPr>
          <a:xfrm>
            <a:off x="759885" y="3814234"/>
            <a:ext cx="4193116" cy="753532"/>
          </a:xfrm>
        </p:spPr>
        <p:txBody>
          <a:bodyPr/>
          <a:lstStyle>
            <a:lvl1pPr>
              <a:defRPr/>
            </a:lvl1pPr>
          </a:lstStyle>
          <a:p>
            <a:pPr lvl="0"/>
            <a:r>
              <a:rPr lang="en-US"/>
              <a:t>Edit text</a:t>
            </a:r>
          </a:p>
          <a:p>
            <a:pPr lvl="1"/>
            <a:r>
              <a:rPr lang="en-US"/>
              <a:t>Second level</a:t>
            </a:r>
          </a:p>
        </p:txBody>
      </p:sp>
      <p:sp>
        <p:nvSpPr>
          <p:cNvPr id="2" name="Text Placeholder"/>
          <p:cNvSpPr>
            <a:spLocks noGrp="1"/>
          </p:cNvSpPr>
          <p:nvPr>
            <p:ph type="ctrTitle" hasCustomPrompt="1"/>
          </p:nvPr>
        </p:nvSpPr>
        <p:spPr>
          <a:xfrm>
            <a:off x="759885" y="762001"/>
            <a:ext cx="4193116" cy="2669116"/>
          </a:xfrm>
        </p:spPr>
        <p:txBody>
          <a:bodyPr>
            <a:noAutofit/>
          </a:bodyPr>
          <a:lstStyle>
            <a:lvl1pPr algn="l">
              <a:lnSpc>
                <a:spcPct val="85000"/>
              </a:lnSpc>
              <a:defRPr sz="6000" baseline="0">
                <a:solidFill>
                  <a:schemeClr val="accent1"/>
                </a:solidFill>
              </a:defRPr>
            </a:lvl1pPr>
          </a:lstStyle>
          <a:p>
            <a:r>
              <a:rPr lang="en-US"/>
              <a:t>Edit title</a:t>
            </a:r>
            <a:endParaRPr lang="en-GB"/>
          </a:p>
        </p:txBody>
      </p:sp>
    </p:spTree>
    <p:extLst>
      <p:ext uri="{BB962C8B-B14F-4D97-AF65-F5344CB8AC3E}">
        <p14:creationId xmlns:p14="http://schemas.microsoft.com/office/powerpoint/2010/main" val="194803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ixel Gri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729428-D5C1-7A66-794D-49E1358630B4}"/>
              </a:ext>
            </a:extLst>
          </p:cNvPr>
          <p:cNvGrpSpPr/>
          <p:nvPr/>
        </p:nvGrpSpPr>
        <p:grpSpPr>
          <a:xfrm>
            <a:off x="0" y="0"/>
            <a:ext cx="12192000" cy="6858000"/>
            <a:chOff x="0" y="0"/>
            <a:chExt cx="9144000" cy="5143500"/>
          </a:xfrm>
        </p:grpSpPr>
        <p:sp>
          <p:nvSpPr>
            <p:cNvPr id="3" name="Freeform: Shape 2">
              <a:extLst>
                <a:ext uri="{FF2B5EF4-FFF2-40B4-BE49-F238E27FC236}">
                  <a16:creationId xmlns:a16="http://schemas.microsoft.com/office/drawing/2014/main" id="{91EDA2D1-73CD-9F98-DBFB-66C846A93F4F}"/>
                </a:ext>
              </a:extLst>
            </p:cNvPr>
            <p:cNvSpPr/>
            <p:nvPr/>
          </p:nvSpPr>
          <p:spPr>
            <a:xfrm>
              <a:off x="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 name="Freeform: Shape 3">
              <a:extLst>
                <a:ext uri="{FF2B5EF4-FFF2-40B4-BE49-F238E27FC236}">
                  <a16:creationId xmlns:a16="http://schemas.microsoft.com/office/drawing/2014/main" id="{FD5565B2-23CF-8DDE-47EB-E738F3280E6E}"/>
                </a:ext>
              </a:extLst>
            </p:cNvPr>
            <p:cNvSpPr/>
            <p:nvPr/>
          </p:nvSpPr>
          <p:spPr>
            <a:xfrm>
              <a:off x="1143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 name="Freeform: Shape 4">
              <a:extLst>
                <a:ext uri="{FF2B5EF4-FFF2-40B4-BE49-F238E27FC236}">
                  <a16:creationId xmlns:a16="http://schemas.microsoft.com/office/drawing/2014/main" id="{8D1C6C4A-3CBD-074F-C516-8D787C57FCE1}"/>
                </a:ext>
              </a:extLst>
            </p:cNvPr>
            <p:cNvSpPr/>
            <p:nvPr/>
          </p:nvSpPr>
          <p:spPr>
            <a:xfrm>
              <a:off x="2286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 name="Freeform: Shape 5">
              <a:extLst>
                <a:ext uri="{FF2B5EF4-FFF2-40B4-BE49-F238E27FC236}">
                  <a16:creationId xmlns:a16="http://schemas.microsoft.com/office/drawing/2014/main" id="{797A6B57-DC44-C568-C852-B995AF9CFFC2}"/>
                </a:ext>
              </a:extLst>
            </p:cNvPr>
            <p:cNvSpPr/>
            <p:nvPr/>
          </p:nvSpPr>
          <p:spPr>
            <a:xfrm>
              <a:off x="3429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 name="Freeform: Shape 6">
              <a:extLst>
                <a:ext uri="{FF2B5EF4-FFF2-40B4-BE49-F238E27FC236}">
                  <a16:creationId xmlns:a16="http://schemas.microsoft.com/office/drawing/2014/main" id="{7B0A5E7D-5921-78EF-7826-606DBA266D15}"/>
                </a:ext>
              </a:extLst>
            </p:cNvPr>
            <p:cNvSpPr/>
            <p:nvPr/>
          </p:nvSpPr>
          <p:spPr>
            <a:xfrm>
              <a:off x="4572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8" name="Freeform: Shape 7">
              <a:extLst>
                <a:ext uri="{FF2B5EF4-FFF2-40B4-BE49-F238E27FC236}">
                  <a16:creationId xmlns:a16="http://schemas.microsoft.com/office/drawing/2014/main" id="{56F838F3-96CB-4A05-28D0-C13CA65EB5AA}"/>
                </a:ext>
              </a:extLst>
            </p:cNvPr>
            <p:cNvSpPr/>
            <p:nvPr/>
          </p:nvSpPr>
          <p:spPr>
            <a:xfrm>
              <a:off x="5715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9" name="Freeform: Shape 8">
              <a:extLst>
                <a:ext uri="{FF2B5EF4-FFF2-40B4-BE49-F238E27FC236}">
                  <a16:creationId xmlns:a16="http://schemas.microsoft.com/office/drawing/2014/main" id="{699F8195-C496-6A5E-0265-346773A3A90E}"/>
                </a:ext>
              </a:extLst>
            </p:cNvPr>
            <p:cNvSpPr/>
            <p:nvPr/>
          </p:nvSpPr>
          <p:spPr>
            <a:xfrm>
              <a:off x="6858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0" name="Freeform: Shape 9">
              <a:extLst>
                <a:ext uri="{FF2B5EF4-FFF2-40B4-BE49-F238E27FC236}">
                  <a16:creationId xmlns:a16="http://schemas.microsoft.com/office/drawing/2014/main" id="{507C7F04-C294-4325-9207-706FDE289F31}"/>
                </a:ext>
              </a:extLst>
            </p:cNvPr>
            <p:cNvSpPr/>
            <p:nvPr/>
          </p:nvSpPr>
          <p:spPr>
            <a:xfrm>
              <a:off x="80010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1" name="Freeform: Shape 10">
              <a:extLst>
                <a:ext uri="{FF2B5EF4-FFF2-40B4-BE49-F238E27FC236}">
                  <a16:creationId xmlns:a16="http://schemas.microsoft.com/office/drawing/2014/main" id="{BE9DA107-C770-7906-61B1-FF1030374ED8}"/>
                </a:ext>
              </a:extLst>
            </p:cNvPr>
            <p:cNvSpPr/>
            <p:nvPr/>
          </p:nvSpPr>
          <p:spPr>
            <a:xfrm>
              <a:off x="571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2" name="Freeform: Shape 11">
              <a:extLst>
                <a:ext uri="{FF2B5EF4-FFF2-40B4-BE49-F238E27FC236}">
                  <a16:creationId xmlns:a16="http://schemas.microsoft.com/office/drawing/2014/main" id="{C0750F79-0A12-9804-057D-0B546BFF652F}"/>
                </a:ext>
              </a:extLst>
            </p:cNvPr>
            <p:cNvSpPr/>
            <p:nvPr/>
          </p:nvSpPr>
          <p:spPr>
            <a:xfrm>
              <a:off x="1714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3" name="Freeform: Shape 12">
              <a:extLst>
                <a:ext uri="{FF2B5EF4-FFF2-40B4-BE49-F238E27FC236}">
                  <a16:creationId xmlns:a16="http://schemas.microsoft.com/office/drawing/2014/main" id="{28A22A6A-B1C6-3098-25C9-04C6012515D6}"/>
                </a:ext>
              </a:extLst>
            </p:cNvPr>
            <p:cNvSpPr/>
            <p:nvPr/>
          </p:nvSpPr>
          <p:spPr>
            <a:xfrm>
              <a:off x="2857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4" name="Freeform: Shape 13">
              <a:extLst>
                <a:ext uri="{FF2B5EF4-FFF2-40B4-BE49-F238E27FC236}">
                  <a16:creationId xmlns:a16="http://schemas.microsoft.com/office/drawing/2014/main" id="{64842043-DC4C-CA3B-FFE6-A08A9C9BD360}"/>
                </a:ext>
              </a:extLst>
            </p:cNvPr>
            <p:cNvSpPr/>
            <p:nvPr/>
          </p:nvSpPr>
          <p:spPr>
            <a:xfrm>
              <a:off x="4000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5" name="Freeform: Shape 14">
              <a:extLst>
                <a:ext uri="{FF2B5EF4-FFF2-40B4-BE49-F238E27FC236}">
                  <a16:creationId xmlns:a16="http://schemas.microsoft.com/office/drawing/2014/main" id="{46ED9297-0A39-921C-E545-54445802E504}"/>
                </a:ext>
              </a:extLst>
            </p:cNvPr>
            <p:cNvSpPr/>
            <p:nvPr/>
          </p:nvSpPr>
          <p:spPr>
            <a:xfrm>
              <a:off x="5143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6" name="Freeform: Shape 15">
              <a:extLst>
                <a:ext uri="{FF2B5EF4-FFF2-40B4-BE49-F238E27FC236}">
                  <a16:creationId xmlns:a16="http://schemas.microsoft.com/office/drawing/2014/main" id="{5D07B033-3C23-03C6-A656-922BBF503B3D}"/>
                </a:ext>
              </a:extLst>
            </p:cNvPr>
            <p:cNvSpPr/>
            <p:nvPr/>
          </p:nvSpPr>
          <p:spPr>
            <a:xfrm>
              <a:off x="6286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4126EA8C-FBEA-5D6F-7E78-1637C4089DAD}"/>
                </a:ext>
              </a:extLst>
            </p:cNvPr>
            <p:cNvSpPr/>
            <p:nvPr/>
          </p:nvSpPr>
          <p:spPr>
            <a:xfrm>
              <a:off x="7429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E02E127F-3CAF-FB76-2D94-024526D4CF24}"/>
                </a:ext>
              </a:extLst>
            </p:cNvPr>
            <p:cNvSpPr/>
            <p:nvPr/>
          </p:nvSpPr>
          <p:spPr>
            <a:xfrm>
              <a:off x="85725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AC484FEE-DEB3-FBED-59DF-77863A8500A5}"/>
                </a:ext>
              </a:extLst>
            </p:cNvPr>
            <p:cNvSpPr/>
            <p:nvPr/>
          </p:nvSpPr>
          <p:spPr>
            <a:xfrm>
              <a:off x="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61E7DCB5-54CC-4876-A23B-E3E6DFCA1197}"/>
                </a:ext>
              </a:extLst>
            </p:cNvPr>
            <p:cNvSpPr/>
            <p:nvPr/>
          </p:nvSpPr>
          <p:spPr>
            <a:xfrm>
              <a:off x="1143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47776173-9483-F75E-8D43-916C52F7997D}"/>
                </a:ext>
              </a:extLst>
            </p:cNvPr>
            <p:cNvSpPr/>
            <p:nvPr/>
          </p:nvSpPr>
          <p:spPr>
            <a:xfrm>
              <a:off x="2286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BCFC3356-37A7-AE6B-D42D-C18EEF6AFD02}"/>
                </a:ext>
              </a:extLst>
            </p:cNvPr>
            <p:cNvSpPr/>
            <p:nvPr/>
          </p:nvSpPr>
          <p:spPr>
            <a:xfrm>
              <a:off x="3429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E60A3A05-8328-A834-2681-8AE2D9D0EC3E}"/>
                </a:ext>
              </a:extLst>
            </p:cNvPr>
            <p:cNvSpPr/>
            <p:nvPr/>
          </p:nvSpPr>
          <p:spPr>
            <a:xfrm>
              <a:off x="4572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9718F3DF-4DF0-ABF3-C82A-8FB031A35AAB}"/>
                </a:ext>
              </a:extLst>
            </p:cNvPr>
            <p:cNvSpPr/>
            <p:nvPr/>
          </p:nvSpPr>
          <p:spPr>
            <a:xfrm>
              <a:off x="5715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22E906C2-9ACF-1E61-0FA8-9C20EA3C81D4}"/>
                </a:ext>
              </a:extLst>
            </p:cNvPr>
            <p:cNvSpPr/>
            <p:nvPr/>
          </p:nvSpPr>
          <p:spPr>
            <a:xfrm>
              <a:off x="6858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00B9D548-4399-370C-0D95-BE5379FE1F2C}"/>
                </a:ext>
              </a:extLst>
            </p:cNvPr>
            <p:cNvSpPr/>
            <p:nvPr/>
          </p:nvSpPr>
          <p:spPr>
            <a:xfrm>
              <a:off x="80010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67EF58C3-6281-551D-837D-19F7BB1ACF3C}"/>
                </a:ext>
              </a:extLst>
            </p:cNvPr>
            <p:cNvSpPr/>
            <p:nvPr/>
          </p:nvSpPr>
          <p:spPr>
            <a:xfrm>
              <a:off x="571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6814AEA6-5968-8A33-109E-493934B7428A}"/>
                </a:ext>
              </a:extLst>
            </p:cNvPr>
            <p:cNvSpPr/>
            <p:nvPr/>
          </p:nvSpPr>
          <p:spPr>
            <a:xfrm>
              <a:off x="1714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A5E623C8-E7E9-B21A-0FD6-D47866DC2339}"/>
                </a:ext>
              </a:extLst>
            </p:cNvPr>
            <p:cNvSpPr/>
            <p:nvPr/>
          </p:nvSpPr>
          <p:spPr>
            <a:xfrm>
              <a:off x="2857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3CCEE837-7D6A-C699-B6A2-931F69A71614}"/>
                </a:ext>
              </a:extLst>
            </p:cNvPr>
            <p:cNvSpPr/>
            <p:nvPr/>
          </p:nvSpPr>
          <p:spPr>
            <a:xfrm>
              <a:off x="4000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3B16C4B1-AFA8-87A6-5FEB-0CD8A35FA42A}"/>
                </a:ext>
              </a:extLst>
            </p:cNvPr>
            <p:cNvSpPr/>
            <p:nvPr/>
          </p:nvSpPr>
          <p:spPr>
            <a:xfrm>
              <a:off x="5143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9801998-31CE-834C-4565-AAAB401EEA45}"/>
                </a:ext>
              </a:extLst>
            </p:cNvPr>
            <p:cNvSpPr/>
            <p:nvPr/>
          </p:nvSpPr>
          <p:spPr>
            <a:xfrm>
              <a:off x="6286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0A27ABEB-E43C-BDFE-EF95-8F41F1D01E55}"/>
                </a:ext>
              </a:extLst>
            </p:cNvPr>
            <p:cNvSpPr/>
            <p:nvPr/>
          </p:nvSpPr>
          <p:spPr>
            <a:xfrm>
              <a:off x="7429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B5DAEC07-9B2C-6CE1-A13A-70900A6F2B73}"/>
                </a:ext>
              </a:extLst>
            </p:cNvPr>
            <p:cNvSpPr/>
            <p:nvPr/>
          </p:nvSpPr>
          <p:spPr>
            <a:xfrm>
              <a:off x="85725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400B141E-6FFF-9CEA-1FA6-A1808BE7851D}"/>
                </a:ext>
              </a:extLst>
            </p:cNvPr>
            <p:cNvSpPr/>
            <p:nvPr/>
          </p:nvSpPr>
          <p:spPr>
            <a:xfrm>
              <a:off x="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B2820193-A7DB-E4FB-816B-9910B74954F8}"/>
                </a:ext>
              </a:extLst>
            </p:cNvPr>
            <p:cNvSpPr/>
            <p:nvPr/>
          </p:nvSpPr>
          <p:spPr>
            <a:xfrm>
              <a:off x="1143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8F5E0705-CB49-C638-0D0F-74CD6D101690}"/>
                </a:ext>
              </a:extLst>
            </p:cNvPr>
            <p:cNvSpPr/>
            <p:nvPr/>
          </p:nvSpPr>
          <p:spPr>
            <a:xfrm>
              <a:off x="2286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A89A2538-A6CA-748F-7CDF-124C6C3BB068}"/>
                </a:ext>
              </a:extLst>
            </p:cNvPr>
            <p:cNvSpPr/>
            <p:nvPr/>
          </p:nvSpPr>
          <p:spPr>
            <a:xfrm>
              <a:off x="3429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E867DF2-B6A4-B3C0-F8B0-799C93E78B7B}"/>
                </a:ext>
              </a:extLst>
            </p:cNvPr>
            <p:cNvSpPr/>
            <p:nvPr/>
          </p:nvSpPr>
          <p:spPr>
            <a:xfrm>
              <a:off x="4572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17BB97B3-7F19-5740-B902-399D0563383B}"/>
                </a:ext>
              </a:extLst>
            </p:cNvPr>
            <p:cNvSpPr/>
            <p:nvPr/>
          </p:nvSpPr>
          <p:spPr>
            <a:xfrm>
              <a:off x="5715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1E5640B6-9418-1C97-1F8C-9C65C0CF9373}"/>
                </a:ext>
              </a:extLst>
            </p:cNvPr>
            <p:cNvSpPr/>
            <p:nvPr/>
          </p:nvSpPr>
          <p:spPr>
            <a:xfrm>
              <a:off x="6858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EF51008F-3327-DEE1-DBA7-0DEC0C1D3C09}"/>
                </a:ext>
              </a:extLst>
            </p:cNvPr>
            <p:cNvSpPr/>
            <p:nvPr/>
          </p:nvSpPr>
          <p:spPr>
            <a:xfrm>
              <a:off x="80010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B96C3C7A-AD21-B326-0E8D-6E20BF808E10}"/>
                </a:ext>
              </a:extLst>
            </p:cNvPr>
            <p:cNvSpPr/>
            <p:nvPr/>
          </p:nvSpPr>
          <p:spPr>
            <a:xfrm>
              <a:off x="571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483E3AC9-AB38-4F7E-25D5-C32717262449}"/>
                </a:ext>
              </a:extLst>
            </p:cNvPr>
            <p:cNvSpPr/>
            <p:nvPr/>
          </p:nvSpPr>
          <p:spPr>
            <a:xfrm>
              <a:off x="1714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4FAE6F4A-7F70-E3DF-7ADE-E6E363A4049D}"/>
                </a:ext>
              </a:extLst>
            </p:cNvPr>
            <p:cNvSpPr/>
            <p:nvPr/>
          </p:nvSpPr>
          <p:spPr>
            <a:xfrm>
              <a:off x="2857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979E01D6-09B0-D371-67FE-7718740D96F5}"/>
                </a:ext>
              </a:extLst>
            </p:cNvPr>
            <p:cNvSpPr/>
            <p:nvPr/>
          </p:nvSpPr>
          <p:spPr>
            <a:xfrm>
              <a:off x="4000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34F3C725-3283-CC27-E911-A175B878E036}"/>
                </a:ext>
              </a:extLst>
            </p:cNvPr>
            <p:cNvSpPr/>
            <p:nvPr/>
          </p:nvSpPr>
          <p:spPr>
            <a:xfrm>
              <a:off x="5143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9BC1C2C4-DA20-4A0E-297D-9F0ABA19853A}"/>
                </a:ext>
              </a:extLst>
            </p:cNvPr>
            <p:cNvSpPr/>
            <p:nvPr/>
          </p:nvSpPr>
          <p:spPr>
            <a:xfrm>
              <a:off x="6286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0BAEECDB-A60A-D0BC-BBF4-62C5003CDACA}"/>
                </a:ext>
              </a:extLst>
            </p:cNvPr>
            <p:cNvSpPr/>
            <p:nvPr/>
          </p:nvSpPr>
          <p:spPr>
            <a:xfrm>
              <a:off x="7429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BABFD3C0-E7EA-64D9-A7A4-7F6F80BD5218}"/>
                </a:ext>
              </a:extLst>
            </p:cNvPr>
            <p:cNvSpPr/>
            <p:nvPr/>
          </p:nvSpPr>
          <p:spPr>
            <a:xfrm>
              <a:off x="85725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C22960D2-5E75-8134-EA7B-D249B07803DC}"/>
                </a:ext>
              </a:extLst>
            </p:cNvPr>
            <p:cNvSpPr/>
            <p:nvPr/>
          </p:nvSpPr>
          <p:spPr>
            <a:xfrm>
              <a:off x="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847BDCA-42A7-9A67-75E9-D326F74DD298}"/>
                </a:ext>
              </a:extLst>
            </p:cNvPr>
            <p:cNvSpPr/>
            <p:nvPr/>
          </p:nvSpPr>
          <p:spPr>
            <a:xfrm>
              <a:off x="1143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1C070B0F-43D8-0E17-5F39-EA676A0D207F}"/>
                </a:ext>
              </a:extLst>
            </p:cNvPr>
            <p:cNvSpPr/>
            <p:nvPr/>
          </p:nvSpPr>
          <p:spPr>
            <a:xfrm>
              <a:off x="2286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77633AD7-259E-3095-AA7D-AE1A810B2C28}"/>
                </a:ext>
              </a:extLst>
            </p:cNvPr>
            <p:cNvSpPr/>
            <p:nvPr/>
          </p:nvSpPr>
          <p:spPr>
            <a:xfrm>
              <a:off x="3429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8C58FBC7-DF68-D957-795A-C79B80E5695F}"/>
                </a:ext>
              </a:extLst>
            </p:cNvPr>
            <p:cNvSpPr/>
            <p:nvPr/>
          </p:nvSpPr>
          <p:spPr>
            <a:xfrm>
              <a:off x="4572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84CE95D7-5BF9-27B6-4A7B-FABBD631AF67}"/>
                </a:ext>
              </a:extLst>
            </p:cNvPr>
            <p:cNvSpPr/>
            <p:nvPr/>
          </p:nvSpPr>
          <p:spPr>
            <a:xfrm>
              <a:off x="5715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B8B06065-7AA5-8B24-6E71-5D3F64C01135}"/>
                </a:ext>
              </a:extLst>
            </p:cNvPr>
            <p:cNvSpPr/>
            <p:nvPr/>
          </p:nvSpPr>
          <p:spPr>
            <a:xfrm>
              <a:off x="6858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BE838CF1-46B4-FCAE-5B0F-EB71F18FF037}"/>
                </a:ext>
              </a:extLst>
            </p:cNvPr>
            <p:cNvSpPr/>
            <p:nvPr/>
          </p:nvSpPr>
          <p:spPr>
            <a:xfrm>
              <a:off x="80010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F24C7E95-878C-39E7-F20C-70FA0CFA44D9}"/>
                </a:ext>
              </a:extLst>
            </p:cNvPr>
            <p:cNvSpPr/>
            <p:nvPr/>
          </p:nvSpPr>
          <p:spPr>
            <a:xfrm>
              <a:off x="571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627963E3-3C09-5D6C-3D38-B2FDC0F9C6F1}"/>
                </a:ext>
              </a:extLst>
            </p:cNvPr>
            <p:cNvSpPr/>
            <p:nvPr/>
          </p:nvSpPr>
          <p:spPr>
            <a:xfrm>
              <a:off x="1714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4E4EAEE4-F516-CC35-8576-07FE71B3E75C}"/>
                </a:ext>
              </a:extLst>
            </p:cNvPr>
            <p:cNvSpPr/>
            <p:nvPr/>
          </p:nvSpPr>
          <p:spPr>
            <a:xfrm>
              <a:off x="2857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6B0677CB-8B1D-C89C-9F20-EE7287BC88F0}"/>
                </a:ext>
              </a:extLst>
            </p:cNvPr>
            <p:cNvSpPr/>
            <p:nvPr/>
          </p:nvSpPr>
          <p:spPr>
            <a:xfrm>
              <a:off x="4000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0F3D8D72-C487-B05D-EEC5-ABE661A62B0F}"/>
                </a:ext>
              </a:extLst>
            </p:cNvPr>
            <p:cNvSpPr/>
            <p:nvPr/>
          </p:nvSpPr>
          <p:spPr>
            <a:xfrm>
              <a:off x="5143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642E3890-FC1A-578E-4EB3-6A56168E1FC6}"/>
                </a:ext>
              </a:extLst>
            </p:cNvPr>
            <p:cNvSpPr/>
            <p:nvPr/>
          </p:nvSpPr>
          <p:spPr>
            <a:xfrm>
              <a:off x="6286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0BBE12D7-C5A6-3C20-EDD7-59B715100A54}"/>
                </a:ext>
              </a:extLst>
            </p:cNvPr>
            <p:cNvSpPr/>
            <p:nvPr/>
          </p:nvSpPr>
          <p:spPr>
            <a:xfrm>
              <a:off x="7429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7C1B761F-A657-D03B-A421-AA826A623124}"/>
                </a:ext>
              </a:extLst>
            </p:cNvPr>
            <p:cNvSpPr/>
            <p:nvPr/>
          </p:nvSpPr>
          <p:spPr>
            <a:xfrm>
              <a:off x="85725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66C83CB2-EC6E-6646-C0ED-7F17EB8E3386}"/>
                </a:ext>
              </a:extLst>
            </p:cNvPr>
            <p:cNvSpPr/>
            <p:nvPr/>
          </p:nvSpPr>
          <p:spPr>
            <a:xfrm>
              <a:off x="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ECEFDC56-163B-FD19-A846-A683430A57C3}"/>
                </a:ext>
              </a:extLst>
            </p:cNvPr>
            <p:cNvSpPr/>
            <p:nvPr/>
          </p:nvSpPr>
          <p:spPr>
            <a:xfrm>
              <a:off x="1143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2C59AFB2-A29F-1CD2-25B2-9AD821FBFE65}"/>
                </a:ext>
              </a:extLst>
            </p:cNvPr>
            <p:cNvSpPr/>
            <p:nvPr/>
          </p:nvSpPr>
          <p:spPr>
            <a:xfrm>
              <a:off x="2286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30242E5C-BA59-5972-7D47-F83B9451E6C9}"/>
                </a:ext>
              </a:extLst>
            </p:cNvPr>
            <p:cNvSpPr/>
            <p:nvPr/>
          </p:nvSpPr>
          <p:spPr>
            <a:xfrm>
              <a:off x="3429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48F0727D-F3F0-6344-0DE3-96E463D1DF69}"/>
                </a:ext>
              </a:extLst>
            </p:cNvPr>
            <p:cNvSpPr/>
            <p:nvPr/>
          </p:nvSpPr>
          <p:spPr>
            <a:xfrm>
              <a:off x="4572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8964D58B-D8ED-8CC6-9DFA-4E412338AB1C}"/>
                </a:ext>
              </a:extLst>
            </p:cNvPr>
            <p:cNvSpPr/>
            <p:nvPr/>
          </p:nvSpPr>
          <p:spPr>
            <a:xfrm>
              <a:off x="5715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991BF506-3835-AFF0-B2E0-6D9C0DC0F90A}"/>
                </a:ext>
              </a:extLst>
            </p:cNvPr>
            <p:cNvSpPr/>
            <p:nvPr/>
          </p:nvSpPr>
          <p:spPr>
            <a:xfrm>
              <a:off x="6858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DD590CD7-2285-FA61-C347-C032FAC759F2}"/>
                </a:ext>
              </a:extLst>
            </p:cNvPr>
            <p:cNvSpPr/>
            <p:nvPr/>
          </p:nvSpPr>
          <p:spPr>
            <a:xfrm>
              <a:off x="80010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000000"/>
            </a:solidFill>
            <a:ln w="4763"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748FCBD6-5F9E-C3E7-7BD5-A8A8D6853971}"/>
                </a:ext>
              </a:extLst>
            </p:cNvPr>
            <p:cNvSpPr/>
            <p:nvPr/>
          </p:nvSpPr>
          <p:spPr>
            <a:xfrm>
              <a:off x="571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5C4CED84-8665-ED73-37B1-DC1660B0AE6B}"/>
                </a:ext>
              </a:extLst>
            </p:cNvPr>
            <p:cNvSpPr/>
            <p:nvPr/>
          </p:nvSpPr>
          <p:spPr>
            <a:xfrm>
              <a:off x="1714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4B9C442F-0278-D851-C287-740A33EB2C15}"/>
                </a:ext>
              </a:extLst>
            </p:cNvPr>
            <p:cNvSpPr/>
            <p:nvPr/>
          </p:nvSpPr>
          <p:spPr>
            <a:xfrm>
              <a:off x="2857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A1DE110-7DC0-EB89-47BF-20CF31CA5F86}"/>
                </a:ext>
              </a:extLst>
            </p:cNvPr>
            <p:cNvSpPr/>
            <p:nvPr/>
          </p:nvSpPr>
          <p:spPr>
            <a:xfrm>
              <a:off x="4000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984E6DA4-8D9B-8ABE-F237-059D39C7961E}"/>
                </a:ext>
              </a:extLst>
            </p:cNvPr>
            <p:cNvSpPr/>
            <p:nvPr/>
          </p:nvSpPr>
          <p:spPr>
            <a:xfrm>
              <a:off x="5143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327AD575-E28E-AD9E-4D89-69B6544A8360}"/>
                </a:ext>
              </a:extLst>
            </p:cNvPr>
            <p:cNvSpPr/>
            <p:nvPr/>
          </p:nvSpPr>
          <p:spPr>
            <a:xfrm>
              <a:off x="6286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F67A9692-0E08-7AF2-76AA-23B5A36DEB42}"/>
                </a:ext>
              </a:extLst>
            </p:cNvPr>
            <p:cNvSpPr/>
            <p:nvPr/>
          </p:nvSpPr>
          <p:spPr>
            <a:xfrm>
              <a:off x="7429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744B782F-B813-50FE-8298-620A0BE2F83F}"/>
                </a:ext>
              </a:extLst>
            </p:cNvPr>
            <p:cNvSpPr/>
            <p:nvPr/>
          </p:nvSpPr>
          <p:spPr>
            <a:xfrm>
              <a:off x="8572500" y="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CEC70DAD-DAC7-7C0A-CDA0-DCF7457C6BE5}"/>
                </a:ext>
              </a:extLst>
            </p:cNvPr>
            <p:cNvSpPr/>
            <p:nvPr/>
          </p:nvSpPr>
          <p:spPr>
            <a:xfrm>
              <a:off x="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0D3C2A59-0335-DE63-FA09-6508DCB3F9FF}"/>
                </a:ext>
              </a:extLst>
            </p:cNvPr>
            <p:cNvSpPr/>
            <p:nvPr/>
          </p:nvSpPr>
          <p:spPr>
            <a:xfrm>
              <a:off x="1143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3A09D906-2F95-D1A9-9735-D2C9FDB1C15B}"/>
                </a:ext>
              </a:extLst>
            </p:cNvPr>
            <p:cNvSpPr/>
            <p:nvPr/>
          </p:nvSpPr>
          <p:spPr>
            <a:xfrm>
              <a:off x="2286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834B87B5-6134-5C28-0D63-A5313A37E03A}"/>
                </a:ext>
              </a:extLst>
            </p:cNvPr>
            <p:cNvSpPr/>
            <p:nvPr/>
          </p:nvSpPr>
          <p:spPr>
            <a:xfrm>
              <a:off x="3429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1D9E6322-55D1-F5A6-6C04-863EC1555085}"/>
                </a:ext>
              </a:extLst>
            </p:cNvPr>
            <p:cNvSpPr/>
            <p:nvPr/>
          </p:nvSpPr>
          <p:spPr>
            <a:xfrm>
              <a:off x="4572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D105B595-30C6-CD2F-CEF9-6471E1D9C4D8}"/>
                </a:ext>
              </a:extLst>
            </p:cNvPr>
            <p:cNvSpPr/>
            <p:nvPr/>
          </p:nvSpPr>
          <p:spPr>
            <a:xfrm>
              <a:off x="5715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D58D8AAA-09C6-C4B3-86BD-81569788797A}"/>
                </a:ext>
              </a:extLst>
            </p:cNvPr>
            <p:cNvSpPr/>
            <p:nvPr/>
          </p:nvSpPr>
          <p:spPr>
            <a:xfrm>
              <a:off x="6858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B3B0CDBD-D2FF-4B29-72A9-CB1012D0B82B}"/>
                </a:ext>
              </a:extLst>
            </p:cNvPr>
            <p:cNvSpPr/>
            <p:nvPr/>
          </p:nvSpPr>
          <p:spPr>
            <a:xfrm>
              <a:off x="8001000" y="571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6E842668-E7BC-174C-26AA-EB957D0B8955}"/>
                </a:ext>
              </a:extLst>
            </p:cNvPr>
            <p:cNvSpPr/>
            <p:nvPr/>
          </p:nvSpPr>
          <p:spPr>
            <a:xfrm>
              <a:off x="571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0035A41C-001F-399E-545C-E6166F584B84}"/>
                </a:ext>
              </a:extLst>
            </p:cNvPr>
            <p:cNvSpPr/>
            <p:nvPr/>
          </p:nvSpPr>
          <p:spPr>
            <a:xfrm>
              <a:off x="1714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4A4EAD9-9144-F138-241C-C40467E7375A}"/>
                </a:ext>
              </a:extLst>
            </p:cNvPr>
            <p:cNvSpPr/>
            <p:nvPr/>
          </p:nvSpPr>
          <p:spPr>
            <a:xfrm>
              <a:off x="2857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11B986DC-FFB9-270B-043E-0BF060C02D5B}"/>
                </a:ext>
              </a:extLst>
            </p:cNvPr>
            <p:cNvSpPr/>
            <p:nvPr/>
          </p:nvSpPr>
          <p:spPr>
            <a:xfrm>
              <a:off x="4000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A87D8288-908C-C93F-C5CE-3EE134F8E087}"/>
                </a:ext>
              </a:extLst>
            </p:cNvPr>
            <p:cNvSpPr/>
            <p:nvPr/>
          </p:nvSpPr>
          <p:spPr>
            <a:xfrm>
              <a:off x="5143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7645D070-489A-CF5C-FF22-841C9DE4DF90}"/>
                </a:ext>
              </a:extLst>
            </p:cNvPr>
            <p:cNvSpPr/>
            <p:nvPr/>
          </p:nvSpPr>
          <p:spPr>
            <a:xfrm>
              <a:off x="6286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81E8FF6E-20B2-2F09-EBA0-8803346A1F36}"/>
                </a:ext>
              </a:extLst>
            </p:cNvPr>
            <p:cNvSpPr/>
            <p:nvPr/>
          </p:nvSpPr>
          <p:spPr>
            <a:xfrm>
              <a:off x="7429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CFD8C139-573E-93FC-CF1D-88CD85CAF327}"/>
                </a:ext>
              </a:extLst>
            </p:cNvPr>
            <p:cNvSpPr/>
            <p:nvPr/>
          </p:nvSpPr>
          <p:spPr>
            <a:xfrm>
              <a:off x="8572500" y="1143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B867B571-2A9B-5522-9B9C-3205E396B01A}"/>
                </a:ext>
              </a:extLst>
            </p:cNvPr>
            <p:cNvSpPr/>
            <p:nvPr/>
          </p:nvSpPr>
          <p:spPr>
            <a:xfrm>
              <a:off x="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3E4A208D-51A1-1A43-49A1-BF0FB0D2A375}"/>
                </a:ext>
              </a:extLst>
            </p:cNvPr>
            <p:cNvSpPr/>
            <p:nvPr/>
          </p:nvSpPr>
          <p:spPr>
            <a:xfrm>
              <a:off x="1143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6ECBC54D-5D6A-C8DA-DE27-94167DCDC4DE}"/>
                </a:ext>
              </a:extLst>
            </p:cNvPr>
            <p:cNvSpPr/>
            <p:nvPr/>
          </p:nvSpPr>
          <p:spPr>
            <a:xfrm>
              <a:off x="2286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B25C34FA-D2F5-EBA8-E4AF-82067F90E77E}"/>
                </a:ext>
              </a:extLst>
            </p:cNvPr>
            <p:cNvSpPr/>
            <p:nvPr/>
          </p:nvSpPr>
          <p:spPr>
            <a:xfrm>
              <a:off x="3429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64E0CDD0-C56C-0D3F-8167-80BD0A8B2AD7}"/>
                </a:ext>
              </a:extLst>
            </p:cNvPr>
            <p:cNvSpPr/>
            <p:nvPr/>
          </p:nvSpPr>
          <p:spPr>
            <a:xfrm>
              <a:off x="4572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ADA11FA5-862E-14DD-F454-54BD0DDFCD82}"/>
                </a:ext>
              </a:extLst>
            </p:cNvPr>
            <p:cNvSpPr/>
            <p:nvPr/>
          </p:nvSpPr>
          <p:spPr>
            <a:xfrm>
              <a:off x="5715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50E9267-AF9C-2ED7-37FF-E88D9C5F573E}"/>
                </a:ext>
              </a:extLst>
            </p:cNvPr>
            <p:cNvSpPr/>
            <p:nvPr/>
          </p:nvSpPr>
          <p:spPr>
            <a:xfrm>
              <a:off x="6858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696C9794-63E2-412E-37BB-28A41C0408CC}"/>
                </a:ext>
              </a:extLst>
            </p:cNvPr>
            <p:cNvSpPr/>
            <p:nvPr/>
          </p:nvSpPr>
          <p:spPr>
            <a:xfrm>
              <a:off x="8001000" y="1714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C506380B-4B88-CACB-9623-E21D54B53C93}"/>
                </a:ext>
              </a:extLst>
            </p:cNvPr>
            <p:cNvSpPr/>
            <p:nvPr/>
          </p:nvSpPr>
          <p:spPr>
            <a:xfrm>
              <a:off x="571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93F35A23-B26D-40F2-3416-4F8F6FEA52B7}"/>
                </a:ext>
              </a:extLst>
            </p:cNvPr>
            <p:cNvSpPr/>
            <p:nvPr/>
          </p:nvSpPr>
          <p:spPr>
            <a:xfrm>
              <a:off x="1714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C417ABF4-247E-49E1-F947-EFC702DB253F}"/>
                </a:ext>
              </a:extLst>
            </p:cNvPr>
            <p:cNvSpPr/>
            <p:nvPr/>
          </p:nvSpPr>
          <p:spPr>
            <a:xfrm>
              <a:off x="2857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2F1266D4-808D-A6D8-965D-7E19DBA457A6}"/>
                </a:ext>
              </a:extLst>
            </p:cNvPr>
            <p:cNvSpPr/>
            <p:nvPr/>
          </p:nvSpPr>
          <p:spPr>
            <a:xfrm>
              <a:off x="4000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5ABD5C5E-7219-5F08-ACB2-0A4335825A30}"/>
                </a:ext>
              </a:extLst>
            </p:cNvPr>
            <p:cNvSpPr/>
            <p:nvPr/>
          </p:nvSpPr>
          <p:spPr>
            <a:xfrm>
              <a:off x="5143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7E0ABBF1-DD97-2797-E532-4DDB8E49C94B}"/>
                </a:ext>
              </a:extLst>
            </p:cNvPr>
            <p:cNvSpPr/>
            <p:nvPr/>
          </p:nvSpPr>
          <p:spPr>
            <a:xfrm>
              <a:off x="6286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DE68B17F-242D-E1FD-7558-CF4E42BDBF10}"/>
                </a:ext>
              </a:extLst>
            </p:cNvPr>
            <p:cNvSpPr/>
            <p:nvPr/>
          </p:nvSpPr>
          <p:spPr>
            <a:xfrm>
              <a:off x="7429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0A7176CC-2897-14E6-3C61-37440E434AA7}"/>
                </a:ext>
              </a:extLst>
            </p:cNvPr>
            <p:cNvSpPr/>
            <p:nvPr/>
          </p:nvSpPr>
          <p:spPr>
            <a:xfrm>
              <a:off x="8572500" y="2286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458A869B-833A-839F-CA5B-B5D29FCD9A69}"/>
                </a:ext>
              </a:extLst>
            </p:cNvPr>
            <p:cNvSpPr/>
            <p:nvPr/>
          </p:nvSpPr>
          <p:spPr>
            <a:xfrm>
              <a:off x="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2A2AEEC6-3F1F-F427-2EB2-D154E62768C7}"/>
                </a:ext>
              </a:extLst>
            </p:cNvPr>
            <p:cNvSpPr/>
            <p:nvPr/>
          </p:nvSpPr>
          <p:spPr>
            <a:xfrm>
              <a:off x="1143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E8A3632F-0EF6-4F70-1953-AE1D6F05EC32}"/>
                </a:ext>
              </a:extLst>
            </p:cNvPr>
            <p:cNvSpPr/>
            <p:nvPr/>
          </p:nvSpPr>
          <p:spPr>
            <a:xfrm>
              <a:off x="2286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D3D2BB5B-4EB1-8D97-6D79-F7105A4ABE81}"/>
                </a:ext>
              </a:extLst>
            </p:cNvPr>
            <p:cNvSpPr/>
            <p:nvPr/>
          </p:nvSpPr>
          <p:spPr>
            <a:xfrm>
              <a:off x="3429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A85BEF19-C66A-5136-04CF-68E578C4CDA4}"/>
                </a:ext>
              </a:extLst>
            </p:cNvPr>
            <p:cNvSpPr/>
            <p:nvPr/>
          </p:nvSpPr>
          <p:spPr>
            <a:xfrm>
              <a:off x="4572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7DDC285F-DE9E-3617-88DA-26BCF280B2CA}"/>
                </a:ext>
              </a:extLst>
            </p:cNvPr>
            <p:cNvSpPr/>
            <p:nvPr/>
          </p:nvSpPr>
          <p:spPr>
            <a:xfrm>
              <a:off x="5715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C2A9EC8-8C5D-8A67-19EA-5455279D9D2C}"/>
                </a:ext>
              </a:extLst>
            </p:cNvPr>
            <p:cNvSpPr/>
            <p:nvPr/>
          </p:nvSpPr>
          <p:spPr>
            <a:xfrm>
              <a:off x="6858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3D846328-E2E9-B634-0F31-F7ECAEC0B3A0}"/>
                </a:ext>
              </a:extLst>
            </p:cNvPr>
            <p:cNvSpPr/>
            <p:nvPr/>
          </p:nvSpPr>
          <p:spPr>
            <a:xfrm>
              <a:off x="8001000" y="2857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86FF532-3C40-5C6A-2E74-C33B864A0E98}"/>
                </a:ext>
              </a:extLst>
            </p:cNvPr>
            <p:cNvSpPr/>
            <p:nvPr/>
          </p:nvSpPr>
          <p:spPr>
            <a:xfrm>
              <a:off x="571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787A523-5892-3C3F-95D0-AB99324AD1BB}"/>
                </a:ext>
              </a:extLst>
            </p:cNvPr>
            <p:cNvSpPr/>
            <p:nvPr/>
          </p:nvSpPr>
          <p:spPr>
            <a:xfrm>
              <a:off x="1714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47E02238-539D-8348-3069-5F93A4B8B8C9}"/>
                </a:ext>
              </a:extLst>
            </p:cNvPr>
            <p:cNvSpPr/>
            <p:nvPr/>
          </p:nvSpPr>
          <p:spPr>
            <a:xfrm>
              <a:off x="2857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95734624-43A2-EA1E-5932-9FA7A75D85BB}"/>
                </a:ext>
              </a:extLst>
            </p:cNvPr>
            <p:cNvSpPr/>
            <p:nvPr/>
          </p:nvSpPr>
          <p:spPr>
            <a:xfrm>
              <a:off x="4000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F8027439-F13C-07A8-64D5-D7FF947D0788}"/>
                </a:ext>
              </a:extLst>
            </p:cNvPr>
            <p:cNvSpPr/>
            <p:nvPr/>
          </p:nvSpPr>
          <p:spPr>
            <a:xfrm>
              <a:off x="5143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710C24F0-0281-C204-3F5D-C67B62C0392E}"/>
                </a:ext>
              </a:extLst>
            </p:cNvPr>
            <p:cNvSpPr/>
            <p:nvPr/>
          </p:nvSpPr>
          <p:spPr>
            <a:xfrm>
              <a:off x="6286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D60BAB5A-C40B-D235-B3CF-62499EC7EE8C}"/>
                </a:ext>
              </a:extLst>
            </p:cNvPr>
            <p:cNvSpPr/>
            <p:nvPr/>
          </p:nvSpPr>
          <p:spPr>
            <a:xfrm>
              <a:off x="7429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A1FA703A-6630-6BCE-CEF5-65D438B57C5B}"/>
                </a:ext>
              </a:extLst>
            </p:cNvPr>
            <p:cNvSpPr/>
            <p:nvPr/>
          </p:nvSpPr>
          <p:spPr>
            <a:xfrm>
              <a:off x="8572500" y="3429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BA0BD684-4764-4AB9-D811-14685020457A}"/>
                </a:ext>
              </a:extLst>
            </p:cNvPr>
            <p:cNvSpPr/>
            <p:nvPr/>
          </p:nvSpPr>
          <p:spPr>
            <a:xfrm>
              <a:off x="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EC46EBEB-371E-621D-3115-553D120A0BE5}"/>
                </a:ext>
              </a:extLst>
            </p:cNvPr>
            <p:cNvSpPr/>
            <p:nvPr/>
          </p:nvSpPr>
          <p:spPr>
            <a:xfrm>
              <a:off x="1143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FE9A0AB9-9953-D68E-4A66-28D1D1C34876}"/>
                </a:ext>
              </a:extLst>
            </p:cNvPr>
            <p:cNvSpPr/>
            <p:nvPr/>
          </p:nvSpPr>
          <p:spPr>
            <a:xfrm>
              <a:off x="2286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B3551C9A-CA5E-F540-2522-48197572FF78}"/>
                </a:ext>
              </a:extLst>
            </p:cNvPr>
            <p:cNvSpPr/>
            <p:nvPr/>
          </p:nvSpPr>
          <p:spPr>
            <a:xfrm>
              <a:off x="3429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981F0146-146E-32FE-0124-60847FF38472}"/>
                </a:ext>
              </a:extLst>
            </p:cNvPr>
            <p:cNvSpPr/>
            <p:nvPr/>
          </p:nvSpPr>
          <p:spPr>
            <a:xfrm>
              <a:off x="4572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B9C50980-775E-6784-3E24-6FC8BA932F1D}"/>
                </a:ext>
              </a:extLst>
            </p:cNvPr>
            <p:cNvSpPr/>
            <p:nvPr/>
          </p:nvSpPr>
          <p:spPr>
            <a:xfrm>
              <a:off x="5715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8A8EF671-0C0F-8BE1-3C82-DB9D06C7DCF0}"/>
                </a:ext>
              </a:extLst>
            </p:cNvPr>
            <p:cNvSpPr/>
            <p:nvPr/>
          </p:nvSpPr>
          <p:spPr>
            <a:xfrm>
              <a:off x="6858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51614466-2EAA-8474-2BB0-C8286040A40C}"/>
                </a:ext>
              </a:extLst>
            </p:cNvPr>
            <p:cNvSpPr/>
            <p:nvPr/>
          </p:nvSpPr>
          <p:spPr>
            <a:xfrm>
              <a:off x="8001000" y="40005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DF3A6ECE-2D68-9C63-77A8-325B577F7004}"/>
                </a:ext>
              </a:extLst>
            </p:cNvPr>
            <p:cNvSpPr/>
            <p:nvPr/>
          </p:nvSpPr>
          <p:spPr>
            <a:xfrm>
              <a:off x="571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B0AF2D97-A155-EA7C-36D7-A00BA03F94FC}"/>
                </a:ext>
              </a:extLst>
            </p:cNvPr>
            <p:cNvSpPr/>
            <p:nvPr/>
          </p:nvSpPr>
          <p:spPr>
            <a:xfrm>
              <a:off x="1714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F896C2D4-1073-FD6B-5125-0BE47FEAEDD8}"/>
                </a:ext>
              </a:extLst>
            </p:cNvPr>
            <p:cNvSpPr/>
            <p:nvPr/>
          </p:nvSpPr>
          <p:spPr>
            <a:xfrm>
              <a:off x="2857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209E30BA-84A8-26FC-D712-C854E6D8766C}"/>
                </a:ext>
              </a:extLst>
            </p:cNvPr>
            <p:cNvSpPr/>
            <p:nvPr/>
          </p:nvSpPr>
          <p:spPr>
            <a:xfrm>
              <a:off x="4000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F7D51CDC-5E43-1E7F-5AB2-7BD1D879590A}"/>
                </a:ext>
              </a:extLst>
            </p:cNvPr>
            <p:cNvSpPr/>
            <p:nvPr/>
          </p:nvSpPr>
          <p:spPr>
            <a:xfrm>
              <a:off x="5143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AB54DAC-0EF8-9329-A9D8-E5A9C446A738}"/>
                </a:ext>
              </a:extLst>
            </p:cNvPr>
            <p:cNvSpPr/>
            <p:nvPr/>
          </p:nvSpPr>
          <p:spPr>
            <a:xfrm>
              <a:off x="6286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A3469525-AF93-4047-DDE7-D73C7D490769}"/>
                </a:ext>
              </a:extLst>
            </p:cNvPr>
            <p:cNvSpPr/>
            <p:nvPr/>
          </p:nvSpPr>
          <p:spPr>
            <a:xfrm>
              <a:off x="7429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D5B299FF-274B-031D-FCAD-0931D9CC904C}"/>
                </a:ext>
              </a:extLst>
            </p:cNvPr>
            <p:cNvSpPr/>
            <p:nvPr/>
          </p:nvSpPr>
          <p:spPr>
            <a:xfrm>
              <a:off x="8572500" y="4572000"/>
              <a:ext cx="571500" cy="571500"/>
            </a:xfrm>
            <a:custGeom>
              <a:avLst/>
              <a:gdLst>
                <a:gd name="connsiteX0" fmla="*/ 0 w 571500"/>
                <a:gd name="connsiteY0" fmla="*/ 0 h 571500"/>
                <a:gd name="connsiteX1" fmla="*/ 571500 w 571500"/>
                <a:gd name="connsiteY1" fmla="*/ 0 h 571500"/>
                <a:gd name="connsiteX2" fmla="*/ 571500 w 571500"/>
                <a:gd name="connsiteY2" fmla="*/ 571500 h 571500"/>
                <a:gd name="connsiteX3" fmla="*/ 0 w 571500"/>
                <a:gd name="connsiteY3" fmla="*/ 571500 h 571500"/>
              </a:gdLst>
              <a:ahLst/>
              <a:cxnLst>
                <a:cxn ang="0">
                  <a:pos x="connsiteX0" y="connsiteY0"/>
                </a:cxn>
                <a:cxn ang="0">
                  <a:pos x="connsiteX1" y="connsiteY1"/>
                </a:cxn>
                <a:cxn ang="0">
                  <a:pos x="connsiteX2" y="connsiteY2"/>
                </a:cxn>
                <a:cxn ang="0">
                  <a:pos x="connsiteX3" y="connsiteY3"/>
                </a:cxn>
              </a:cxnLst>
              <a:rect l="l" t="t" r="r" b="b"/>
              <a:pathLst>
                <a:path w="571500" h="571500">
                  <a:moveTo>
                    <a:pt x="0" y="0"/>
                  </a:moveTo>
                  <a:lnTo>
                    <a:pt x="571500" y="0"/>
                  </a:lnTo>
                  <a:lnTo>
                    <a:pt x="571500" y="571500"/>
                  </a:lnTo>
                  <a:lnTo>
                    <a:pt x="0" y="571500"/>
                  </a:lnTo>
                  <a:close/>
                </a:path>
              </a:pathLst>
            </a:custGeom>
            <a:solidFill>
              <a:srgbClr val="FF7900"/>
            </a:solidFill>
            <a:ln w="4763" cap="flat">
              <a:noFill/>
              <a:prstDash val="solid"/>
              <a:miter/>
            </a:ln>
          </p:spPr>
          <p:txBody>
            <a:bodyPr rtlCol="0" anchor="ctr"/>
            <a:lstStyle/>
            <a:p>
              <a:endParaRPr lang="fr-FR" sz="2400"/>
            </a:p>
          </p:txBody>
        </p:sp>
      </p:grpSp>
    </p:spTree>
    <p:extLst>
      <p:ext uri="{BB962C8B-B14F-4D97-AF65-F5344CB8AC3E}">
        <p14:creationId xmlns:p14="http://schemas.microsoft.com/office/powerpoint/2010/main" val="344171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ire de la présentatio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2969" y="452968"/>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a:t>Cliquez pour modifier les styles du texte du masque</a:t>
            </a:r>
          </a:p>
          <a:p>
            <a:pPr lvl="1"/>
            <a:r>
              <a:rPr lang="fr-FR"/>
              <a:t>Deuxième niveau</a:t>
            </a:r>
          </a:p>
        </p:txBody>
      </p:sp>
      <p:sp>
        <p:nvSpPr>
          <p:cNvPr id="3" name="Text Placeholder 2"/>
          <p:cNvSpPr>
            <a:spLocks noGrp="1"/>
          </p:cNvSpPr>
          <p:nvPr>
            <p:ph type="body" sz="quarter" idx="12"/>
          </p:nvPr>
        </p:nvSpPr>
        <p:spPr>
          <a:xfrm>
            <a:off x="8678335" y="452968"/>
            <a:ext cx="3069167" cy="4614333"/>
          </a:xfrm>
        </p:spPr>
        <p:txBody>
          <a:bodyPr tIns="109728"/>
          <a:lstStyle>
            <a:lvl1pPr>
              <a:spcAft>
                <a:spcPts val="3200"/>
              </a:spcAft>
              <a:defRPr>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a:t>Cliquez pour modifier les styles du texte du masque</a:t>
            </a:r>
          </a:p>
          <a:p>
            <a:pPr lvl="1"/>
            <a:r>
              <a:rPr lang="fr-FR"/>
              <a:t>Deuxième niveau</a:t>
            </a:r>
          </a:p>
        </p:txBody>
      </p:sp>
      <p:grpSp>
        <p:nvGrpSpPr>
          <p:cNvPr id="2" name="Group 1"/>
          <p:cNvGrpSpPr/>
          <p:nvPr/>
        </p:nvGrpSpPr>
        <p:grpSpPr>
          <a:xfrm>
            <a:off x="452967" y="5509686"/>
            <a:ext cx="2497668" cy="910167"/>
            <a:chOff x="339725" y="4132263"/>
            <a:chExt cx="1873251" cy="682625"/>
          </a:xfrm>
        </p:grpSpPr>
        <p:grpSp>
          <p:nvGrpSpPr>
            <p:cNvPr id="34" name="Group 33"/>
            <p:cNvGrpSpPr/>
            <p:nvPr/>
          </p:nvGrpSpPr>
          <p:grpSpPr>
            <a:xfrm>
              <a:off x="339725" y="4132263"/>
              <a:ext cx="674688" cy="677863"/>
              <a:chOff x="339725" y="4132263"/>
              <a:chExt cx="674688" cy="677863"/>
            </a:xfrm>
          </p:grpSpPr>
          <p:sp>
            <p:nvSpPr>
              <p:cNvPr id="80" name="Rectangle 7"/>
              <p:cNvSpPr>
                <a:spLocks noChangeArrowheads="1"/>
              </p:cNvSpPr>
              <p:nvPr/>
            </p:nvSpPr>
            <p:spPr bwMode="auto">
              <a:xfrm>
                <a:off x="339725" y="4132263"/>
                <a:ext cx="674688" cy="677863"/>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1" name="Freeform 8"/>
              <p:cNvSpPr>
                <a:spLocks noEditPoints="1"/>
              </p:cNvSpPr>
              <p:nvPr/>
            </p:nvSpPr>
            <p:spPr bwMode="auto">
              <a:xfrm>
                <a:off x="546100" y="4656138"/>
                <a:ext cx="82550" cy="98425"/>
              </a:xfrm>
              <a:custGeom>
                <a:avLst/>
                <a:gdLst>
                  <a:gd name="T0" fmla="*/ 46 w 65"/>
                  <a:gd name="T1" fmla="*/ 69 h 76"/>
                  <a:gd name="T2" fmla="*/ 22 w 65"/>
                  <a:gd name="T3" fmla="*/ 76 h 76"/>
                  <a:gd name="T4" fmla="*/ 0 w 65"/>
                  <a:gd name="T5" fmla="*/ 55 h 76"/>
                  <a:gd name="T6" fmla="*/ 46 w 65"/>
                  <a:gd name="T7" fmla="*/ 26 h 76"/>
                  <a:gd name="T8" fmla="*/ 46 w 65"/>
                  <a:gd name="T9" fmla="*/ 22 h 76"/>
                  <a:gd name="T10" fmla="*/ 35 w 65"/>
                  <a:gd name="T11" fmla="*/ 14 h 76"/>
                  <a:gd name="T12" fmla="*/ 17 w 65"/>
                  <a:gd name="T13" fmla="*/ 22 h 76"/>
                  <a:gd name="T14" fmla="*/ 4 w 65"/>
                  <a:gd name="T15" fmla="*/ 15 h 76"/>
                  <a:gd name="T16" fmla="*/ 35 w 65"/>
                  <a:gd name="T17" fmla="*/ 0 h 76"/>
                  <a:gd name="T18" fmla="*/ 65 w 65"/>
                  <a:gd name="T19" fmla="*/ 22 h 76"/>
                  <a:gd name="T20" fmla="*/ 65 w 65"/>
                  <a:gd name="T21" fmla="*/ 75 h 76"/>
                  <a:gd name="T22" fmla="*/ 48 w 65"/>
                  <a:gd name="T23" fmla="*/ 75 h 76"/>
                  <a:gd name="T24" fmla="*/ 46 w 65"/>
                  <a:gd name="T25" fmla="*/ 69 h 76"/>
                  <a:gd name="T26" fmla="*/ 19 w 65"/>
                  <a:gd name="T27" fmla="*/ 53 h 76"/>
                  <a:gd name="T28" fmla="*/ 28 w 65"/>
                  <a:gd name="T29" fmla="*/ 63 h 76"/>
                  <a:gd name="T30" fmla="*/ 45 w 65"/>
                  <a:gd name="T31" fmla="*/ 55 h 76"/>
                  <a:gd name="T32" fmla="*/ 45 w 65"/>
                  <a:gd name="T33" fmla="*/ 38 h 76"/>
                  <a:gd name="T34" fmla="*/ 19 w 65"/>
                  <a:gd name="T35" fmla="*/ 5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76">
                    <a:moveTo>
                      <a:pt x="46" y="69"/>
                    </a:moveTo>
                    <a:cubicBezTo>
                      <a:pt x="38" y="73"/>
                      <a:pt x="30" y="76"/>
                      <a:pt x="22" y="76"/>
                    </a:cubicBezTo>
                    <a:cubicBezTo>
                      <a:pt x="8" y="76"/>
                      <a:pt x="0" y="67"/>
                      <a:pt x="0" y="55"/>
                    </a:cubicBezTo>
                    <a:cubicBezTo>
                      <a:pt x="0" y="38"/>
                      <a:pt x="15" y="29"/>
                      <a:pt x="46" y="26"/>
                    </a:cubicBezTo>
                    <a:cubicBezTo>
                      <a:pt x="46" y="22"/>
                      <a:pt x="46" y="22"/>
                      <a:pt x="46" y="22"/>
                    </a:cubicBezTo>
                    <a:cubicBezTo>
                      <a:pt x="46" y="17"/>
                      <a:pt x="42" y="14"/>
                      <a:pt x="35" y="14"/>
                    </a:cubicBezTo>
                    <a:cubicBezTo>
                      <a:pt x="27" y="14"/>
                      <a:pt x="21" y="16"/>
                      <a:pt x="17" y="22"/>
                    </a:cubicBezTo>
                    <a:cubicBezTo>
                      <a:pt x="4" y="15"/>
                      <a:pt x="4" y="15"/>
                      <a:pt x="4" y="15"/>
                    </a:cubicBezTo>
                    <a:cubicBezTo>
                      <a:pt x="11" y="5"/>
                      <a:pt x="21" y="0"/>
                      <a:pt x="35" y="0"/>
                    </a:cubicBezTo>
                    <a:cubicBezTo>
                      <a:pt x="54" y="0"/>
                      <a:pt x="65" y="8"/>
                      <a:pt x="65" y="22"/>
                    </a:cubicBezTo>
                    <a:cubicBezTo>
                      <a:pt x="65" y="22"/>
                      <a:pt x="65" y="75"/>
                      <a:pt x="65" y="75"/>
                    </a:cubicBezTo>
                    <a:cubicBezTo>
                      <a:pt x="48" y="75"/>
                      <a:pt x="48" y="75"/>
                      <a:pt x="48" y="75"/>
                    </a:cubicBezTo>
                    <a:lnTo>
                      <a:pt x="46" y="69"/>
                    </a:lnTo>
                    <a:close/>
                    <a:moveTo>
                      <a:pt x="19" y="53"/>
                    </a:moveTo>
                    <a:cubicBezTo>
                      <a:pt x="19" y="58"/>
                      <a:pt x="22" y="63"/>
                      <a:pt x="28" y="63"/>
                    </a:cubicBezTo>
                    <a:cubicBezTo>
                      <a:pt x="34" y="63"/>
                      <a:pt x="40" y="60"/>
                      <a:pt x="45" y="55"/>
                    </a:cubicBezTo>
                    <a:cubicBezTo>
                      <a:pt x="45" y="38"/>
                      <a:pt x="45" y="38"/>
                      <a:pt x="45" y="38"/>
                    </a:cubicBezTo>
                    <a:cubicBezTo>
                      <a:pt x="27" y="40"/>
                      <a:pt x="19" y="44"/>
                      <a:pt x="19"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2" name="Freeform 9"/>
              <p:cNvSpPr>
                <a:spLocks/>
              </p:cNvSpPr>
              <p:nvPr/>
            </p:nvSpPr>
            <p:spPr bwMode="auto">
              <a:xfrm>
                <a:off x="647700" y="4656138"/>
                <a:ext cx="85725" cy="96838"/>
              </a:xfrm>
              <a:custGeom>
                <a:avLst/>
                <a:gdLst>
                  <a:gd name="T0" fmla="*/ 0 w 66"/>
                  <a:gd name="T1" fmla="*/ 4 h 75"/>
                  <a:gd name="T2" fmla="*/ 16 w 66"/>
                  <a:gd name="T3" fmla="*/ 2 h 75"/>
                  <a:gd name="T4" fmla="*/ 18 w 66"/>
                  <a:gd name="T5" fmla="*/ 10 h 75"/>
                  <a:gd name="T6" fmla="*/ 43 w 66"/>
                  <a:gd name="T7" fmla="*/ 0 h 75"/>
                  <a:gd name="T8" fmla="*/ 66 w 66"/>
                  <a:gd name="T9" fmla="*/ 24 h 75"/>
                  <a:gd name="T10" fmla="*/ 66 w 66"/>
                  <a:gd name="T11" fmla="*/ 75 h 75"/>
                  <a:gd name="T12" fmla="*/ 46 w 66"/>
                  <a:gd name="T13" fmla="*/ 75 h 75"/>
                  <a:gd name="T14" fmla="*/ 46 w 66"/>
                  <a:gd name="T15" fmla="*/ 27 h 75"/>
                  <a:gd name="T16" fmla="*/ 37 w 66"/>
                  <a:gd name="T17" fmla="*/ 14 h 75"/>
                  <a:gd name="T18" fmla="*/ 19 w 66"/>
                  <a:gd name="T19" fmla="*/ 22 h 75"/>
                  <a:gd name="T20" fmla="*/ 19 w 66"/>
                  <a:gd name="T21" fmla="*/ 75 h 75"/>
                  <a:gd name="T22" fmla="*/ 0 w 66"/>
                  <a:gd name="T23" fmla="*/ 75 h 75"/>
                  <a:gd name="T24" fmla="*/ 0 w 66"/>
                  <a:gd name="T25" fmla="*/ 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5">
                    <a:moveTo>
                      <a:pt x="0" y="4"/>
                    </a:moveTo>
                    <a:cubicBezTo>
                      <a:pt x="16" y="2"/>
                      <a:pt x="16" y="2"/>
                      <a:pt x="16" y="2"/>
                    </a:cubicBezTo>
                    <a:cubicBezTo>
                      <a:pt x="18" y="10"/>
                      <a:pt x="18" y="10"/>
                      <a:pt x="18" y="10"/>
                    </a:cubicBezTo>
                    <a:cubicBezTo>
                      <a:pt x="27" y="4"/>
                      <a:pt x="34" y="0"/>
                      <a:pt x="43" y="0"/>
                    </a:cubicBezTo>
                    <a:cubicBezTo>
                      <a:pt x="58" y="0"/>
                      <a:pt x="66" y="8"/>
                      <a:pt x="66" y="24"/>
                    </a:cubicBezTo>
                    <a:cubicBezTo>
                      <a:pt x="66" y="75"/>
                      <a:pt x="66" y="75"/>
                      <a:pt x="66" y="75"/>
                    </a:cubicBezTo>
                    <a:cubicBezTo>
                      <a:pt x="46" y="75"/>
                      <a:pt x="46" y="75"/>
                      <a:pt x="46" y="75"/>
                    </a:cubicBezTo>
                    <a:cubicBezTo>
                      <a:pt x="46" y="27"/>
                      <a:pt x="46" y="27"/>
                      <a:pt x="46" y="27"/>
                    </a:cubicBezTo>
                    <a:cubicBezTo>
                      <a:pt x="46" y="18"/>
                      <a:pt x="44" y="14"/>
                      <a:pt x="37" y="14"/>
                    </a:cubicBezTo>
                    <a:cubicBezTo>
                      <a:pt x="31" y="14"/>
                      <a:pt x="26" y="17"/>
                      <a:pt x="19" y="22"/>
                    </a:cubicBezTo>
                    <a:cubicBezTo>
                      <a:pt x="19" y="75"/>
                      <a:pt x="19" y="75"/>
                      <a:pt x="19" y="75"/>
                    </a:cubicBezTo>
                    <a:cubicBezTo>
                      <a:pt x="0" y="75"/>
                      <a:pt x="0" y="75"/>
                      <a:pt x="0" y="75"/>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3" name="Freeform 10"/>
              <p:cNvSpPr>
                <a:spLocks noEditPoints="1"/>
              </p:cNvSpPr>
              <p:nvPr/>
            </p:nvSpPr>
            <p:spPr bwMode="auto">
              <a:xfrm>
                <a:off x="852488" y="4656138"/>
                <a:ext cx="87313" cy="98425"/>
              </a:xfrm>
              <a:custGeom>
                <a:avLst/>
                <a:gdLst>
                  <a:gd name="T0" fmla="*/ 34 w 67"/>
                  <a:gd name="T1" fmla="*/ 76 h 76"/>
                  <a:gd name="T2" fmla="*/ 0 w 67"/>
                  <a:gd name="T3" fmla="*/ 38 h 76"/>
                  <a:gd name="T4" fmla="*/ 34 w 67"/>
                  <a:gd name="T5" fmla="*/ 0 h 76"/>
                  <a:gd name="T6" fmla="*/ 67 w 67"/>
                  <a:gd name="T7" fmla="*/ 37 h 76"/>
                  <a:gd name="T8" fmla="*/ 67 w 67"/>
                  <a:gd name="T9" fmla="*/ 41 h 76"/>
                  <a:gd name="T10" fmla="*/ 19 w 67"/>
                  <a:gd name="T11" fmla="*/ 41 h 76"/>
                  <a:gd name="T12" fmla="*/ 36 w 67"/>
                  <a:gd name="T13" fmla="*/ 62 h 76"/>
                  <a:gd name="T14" fmla="*/ 52 w 67"/>
                  <a:gd name="T15" fmla="*/ 53 h 76"/>
                  <a:gd name="T16" fmla="*/ 67 w 67"/>
                  <a:gd name="T17" fmla="*/ 60 h 76"/>
                  <a:gd name="T18" fmla="*/ 34 w 67"/>
                  <a:gd name="T19" fmla="*/ 76 h 76"/>
                  <a:gd name="T20" fmla="*/ 49 w 67"/>
                  <a:gd name="T21" fmla="*/ 29 h 76"/>
                  <a:gd name="T22" fmla="*/ 34 w 67"/>
                  <a:gd name="T23" fmla="*/ 13 h 76"/>
                  <a:gd name="T24" fmla="*/ 19 w 67"/>
                  <a:gd name="T25" fmla="*/ 29 h 76"/>
                  <a:gd name="T26" fmla="*/ 49 w 67"/>
                  <a:gd name="T27" fmla="*/ 2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76">
                    <a:moveTo>
                      <a:pt x="34" y="76"/>
                    </a:moveTo>
                    <a:cubicBezTo>
                      <a:pt x="13" y="76"/>
                      <a:pt x="0" y="62"/>
                      <a:pt x="0" y="38"/>
                    </a:cubicBezTo>
                    <a:cubicBezTo>
                      <a:pt x="0" y="14"/>
                      <a:pt x="13" y="0"/>
                      <a:pt x="34" y="0"/>
                    </a:cubicBezTo>
                    <a:cubicBezTo>
                      <a:pt x="55" y="0"/>
                      <a:pt x="67" y="14"/>
                      <a:pt x="67" y="37"/>
                    </a:cubicBezTo>
                    <a:cubicBezTo>
                      <a:pt x="67" y="39"/>
                      <a:pt x="67" y="40"/>
                      <a:pt x="67" y="41"/>
                    </a:cubicBezTo>
                    <a:cubicBezTo>
                      <a:pt x="19" y="41"/>
                      <a:pt x="19" y="41"/>
                      <a:pt x="19" y="41"/>
                    </a:cubicBezTo>
                    <a:cubicBezTo>
                      <a:pt x="19" y="55"/>
                      <a:pt x="24" y="62"/>
                      <a:pt x="36" y="62"/>
                    </a:cubicBezTo>
                    <a:cubicBezTo>
                      <a:pt x="43" y="62"/>
                      <a:pt x="48" y="59"/>
                      <a:pt x="52" y="53"/>
                    </a:cubicBezTo>
                    <a:cubicBezTo>
                      <a:pt x="67" y="60"/>
                      <a:pt x="67" y="60"/>
                      <a:pt x="67" y="60"/>
                    </a:cubicBezTo>
                    <a:cubicBezTo>
                      <a:pt x="60" y="71"/>
                      <a:pt x="49" y="76"/>
                      <a:pt x="34" y="76"/>
                    </a:cubicBezTo>
                    <a:close/>
                    <a:moveTo>
                      <a:pt x="49" y="29"/>
                    </a:moveTo>
                    <a:cubicBezTo>
                      <a:pt x="49" y="19"/>
                      <a:pt x="43" y="13"/>
                      <a:pt x="34" y="13"/>
                    </a:cubicBezTo>
                    <a:cubicBezTo>
                      <a:pt x="25" y="13"/>
                      <a:pt x="20" y="19"/>
                      <a:pt x="19" y="29"/>
                    </a:cubicBezTo>
                    <a:lnTo>
                      <a:pt x="4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4" name="Freeform 11"/>
              <p:cNvSpPr>
                <a:spLocks noEditPoints="1"/>
              </p:cNvSpPr>
              <p:nvPr/>
            </p:nvSpPr>
            <p:spPr bwMode="auto">
              <a:xfrm>
                <a:off x="376238" y="4656138"/>
                <a:ext cx="93663" cy="100013"/>
              </a:xfrm>
              <a:custGeom>
                <a:avLst/>
                <a:gdLst>
                  <a:gd name="T0" fmla="*/ 36 w 73"/>
                  <a:gd name="T1" fmla="*/ 77 h 77"/>
                  <a:gd name="T2" fmla="*/ 0 w 73"/>
                  <a:gd name="T3" fmla="*/ 38 h 77"/>
                  <a:gd name="T4" fmla="*/ 36 w 73"/>
                  <a:gd name="T5" fmla="*/ 0 h 77"/>
                  <a:gd name="T6" fmla="*/ 73 w 73"/>
                  <a:gd name="T7" fmla="*/ 38 h 77"/>
                  <a:gd name="T8" fmla="*/ 36 w 73"/>
                  <a:gd name="T9" fmla="*/ 77 h 77"/>
                  <a:gd name="T10" fmla="*/ 36 w 73"/>
                  <a:gd name="T11" fmla="*/ 16 h 77"/>
                  <a:gd name="T12" fmla="*/ 19 w 73"/>
                  <a:gd name="T13" fmla="*/ 38 h 77"/>
                  <a:gd name="T14" fmla="*/ 36 w 73"/>
                  <a:gd name="T15" fmla="*/ 61 h 77"/>
                  <a:gd name="T16" fmla="*/ 53 w 73"/>
                  <a:gd name="T17" fmla="*/ 38 h 77"/>
                  <a:gd name="T18" fmla="*/ 36 w 73"/>
                  <a:gd name="T19"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7">
                    <a:moveTo>
                      <a:pt x="36" y="77"/>
                    </a:moveTo>
                    <a:cubicBezTo>
                      <a:pt x="17" y="77"/>
                      <a:pt x="0" y="65"/>
                      <a:pt x="0" y="38"/>
                    </a:cubicBezTo>
                    <a:cubicBezTo>
                      <a:pt x="0" y="12"/>
                      <a:pt x="17" y="0"/>
                      <a:pt x="36" y="0"/>
                    </a:cubicBezTo>
                    <a:cubicBezTo>
                      <a:pt x="55" y="0"/>
                      <a:pt x="73" y="12"/>
                      <a:pt x="73" y="38"/>
                    </a:cubicBezTo>
                    <a:cubicBezTo>
                      <a:pt x="73" y="65"/>
                      <a:pt x="55" y="77"/>
                      <a:pt x="36" y="77"/>
                    </a:cubicBezTo>
                    <a:close/>
                    <a:moveTo>
                      <a:pt x="36" y="16"/>
                    </a:moveTo>
                    <a:cubicBezTo>
                      <a:pt x="22" y="16"/>
                      <a:pt x="19" y="29"/>
                      <a:pt x="19" y="38"/>
                    </a:cubicBezTo>
                    <a:cubicBezTo>
                      <a:pt x="19" y="48"/>
                      <a:pt x="22" y="61"/>
                      <a:pt x="36" y="61"/>
                    </a:cubicBezTo>
                    <a:cubicBezTo>
                      <a:pt x="51" y="61"/>
                      <a:pt x="53" y="48"/>
                      <a:pt x="53" y="38"/>
                    </a:cubicBezTo>
                    <a:cubicBezTo>
                      <a:pt x="53" y="29"/>
                      <a:pt x="51" y="16"/>
                      <a:pt x="3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5" name="Freeform 12"/>
              <p:cNvSpPr>
                <a:spLocks/>
              </p:cNvSpPr>
              <p:nvPr/>
            </p:nvSpPr>
            <p:spPr bwMode="auto">
              <a:xfrm>
                <a:off x="485775" y="4656138"/>
                <a:ext cx="53975" cy="96838"/>
              </a:xfrm>
              <a:custGeom>
                <a:avLst/>
                <a:gdLst>
                  <a:gd name="T0" fmla="*/ 0 w 41"/>
                  <a:gd name="T1" fmla="*/ 2 h 75"/>
                  <a:gd name="T2" fmla="*/ 18 w 41"/>
                  <a:gd name="T3" fmla="*/ 2 h 75"/>
                  <a:gd name="T4" fmla="*/ 18 w 41"/>
                  <a:gd name="T5" fmla="*/ 10 h 75"/>
                  <a:gd name="T6" fmla="*/ 38 w 41"/>
                  <a:gd name="T7" fmla="*/ 0 h 75"/>
                  <a:gd name="T8" fmla="*/ 41 w 41"/>
                  <a:gd name="T9" fmla="*/ 0 h 75"/>
                  <a:gd name="T10" fmla="*/ 41 w 41"/>
                  <a:gd name="T11" fmla="*/ 18 h 75"/>
                  <a:gd name="T12" fmla="*/ 40 w 41"/>
                  <a:gd name="T13" fmla="*/ 18 h 75"/>
                  <a:gd name="T14" fmla="*/ 19 w 41"/>
                  <a:gd name="T15" fmla="*/ 26 h 75"/>
                  <a:gd name="T16" fmla="*/ 19 w 41"/>
                  <a:gd name="T17" fmla="*/ 75 h 75"/>
                  <a:gd name="T18" fmla="*/ 0 w 41"/>
                  <a:gd name="T19" fmla="*/ 75 h 75"/>
                  <a:gd name="T20" fmla="*/ 0 w 41"/>
                  <a:gd name="T21"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75">
                    <a:moveTo>
                      <a:pt x="0" y="2"/>
                    </a:moveTo>
                    <a:cubicBezTo>
                      <a:pt x="18" y="2"/>
                      <a:pt x="18" y="2"/>
                      <a:pt x="18" y="2"/>
                    </a:cubicBezTo>
                    <a:cubicBezTo>
                      <a:pt x="18" y="10"/>
                      <a:pt x="18" y="10"/>
                      <a:pt x="18" y="10"/>
                    </a:cubicBezTo>
                    <a:cubicBezTo>
                      <a:pt x="22" y="6"/>
                      <a:pt x="30" y="0"/>
                      <a:pt x="38" y="0"/>
                    </a:cubicBezTo>
                    <a:cubicBezTo>
                      <a:pt x="39" y="0"/>
                      <a:pt x="40" y="0"/>
                      <a:pt x="41" y="0"/>
                    </a:cubicBezTo>
                    <a:cubicBezTo>
                      <a:pt x="41" y="18"/>
                      <a:pt x="41" y="18"/>
                      <a:pt x="41" y="18"/>
                    </a:cubicBezTo>
                    <a:cubicBezTo>
                      <a:pt x="40" y="18"/>
                      <a:pt x="40" y="18"/>
                      <a:pt x="40" y="18"/>
                    </a:cubicBezTo>
                    <a:cubicBezTo>
                      <a:pt x="31" y="18"/>
                      <a:pt x="22" y="20"/>
                      <a:pt x="19" y="26"/>
                    </a:cubicBezTo>
                    <a:cubicBezTo>
                      <a:pt x="19" y="75"/>
                      <a:pt x="19" y="75"/>
                      <a:pt x="19" y="75"/>
                    </a:cubicBezTo>
                    <a:cubicBezTo>
                      <a:pt x="0" y="75"/>
                      <a:pt x="0" y="75"/>
                      <a:pt x="0" y="75"/>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6" name="Freeform 13"/>
              <p:cNvSpPr>
                <a:spLocks noEditPoints="1"/>
              </p:cNvSpPr>
              <p:nvPr/>
            </p:nvSpPr>
            <p:spPr bwMode="auto">
              <a:xfrm>
                <a:off x="749300" y="4656138"/>
                <a:ext cx="88900" cy="133350"/>
              </a:xfrm>
              <a:custGeom>
                <a:avLst/>
                <a:gdLst>
                  <a:gd name="T0" fmla="*/ 34 w 68"/>
                  <a:gd name="T1" fmla="*/ 59 h 103"/>
                  <a:gd name="T2" fmla="*/ 50 w 68"/>
                  <a:gd name="T3" fmla="*/ 35 h 103"/>
                  <a:gd name="T4" fmla="*/ 34 w 68"/>
                  <a:gd name="T5" fmla="*/ 14 h 103"/>
                  <a:gd name="T6" fmla="*/ 19 w 68"/>
                  <a:gd name="T7" fmla="*/ 35 h 103"/>
                  <a:gd name="T8" fmla="*/ 34 w 68"/>
                  <a:gd name="T9" fmla="*/ 59 h 103"/>
                  <a:gd name="T10" fmla="*/ 68 w 68"/>
                  <a:gd name="T11" fmla="*/ 1 h 103"/>
                  <a:gd name="T12" fmla="*/ 68 w 68"/>
                  <a:gd name="T13" fmla="*/ 71 h 103"/>
                  <a:gd name="T14" fmla="*/ 32 w 68"/>
                  <a:gd name="T15" fmla="*/ 103 h 103"/>
                  <a:gd name="T16" fmla="*/ 2 w 68"/>
                  <a:gd name="T17" fmla="*/ 85 h 103"/>
                  <a:gd name="T18" fmla="*/ 21 w 68"/>
                  <a:gd name="T19" fmla="*/ 82 h 103"/>
                  <a:gd name="T20" fmla="*/ 35 w 68"/>
                  <a:gd name="T21" fmla="*/ 89 h 103"/>
                  <a:gd name="T22" fmla="*/ 49 w 68"/>
                  <a:gd name="T23" fmla="*/ 73 h 103"/>
                  <a:gd name="T24" fmla="*/ 49 w 68"/>
                  <a:gd name="T25" fmla="*/ 65 h 103"/>
                  <a:gd name="T26" fmla="*/ 49 w 68"/>
                  <a:gd name="T27" fmla="*/ 64 h 103"/>
                  <a:gd name="T28" fmla="*/ 30 w 68"/>
                  <a:gd name="T29" fmla="*/ 75 h 103"/>
                  <a:gd name="T30" fmla="*/ 0 w 68"/>
                  <a:gd name="T31" fmla="*/ 38 h 103"/>
                  <a:gd name="T32" fmla="*/ 29 w 68"/>
                  <a:gd name="T33" fmla="*/ 0 h 103"/>
                  <a:gd name="T34" fmla="*/ 50 w 68"/>
                  <a:gd name="T35" fmla="*/ 10 h 103"/>
                  <a:gd name="T36" fmla="*/ 50 w 68"/>
                  <a:gd name="T37" fmla="*/ 10 h 103"/>
                  <a:gd name="T38" fmla="*/ 52 w 68"/>
                  <a:gd name="T39" fmla="*/ 1 h 103"/>
                  <a:gd name="T40" fmla="*/ 68 w 68"/>
                  <a:gd name="T41"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03">
                    <a:moveTo>
                      <a:pt x="34" y="59"/>
                    </a:moveTo>
                    <a:cubicBezTo>
                      <a:pt x="48" y="59"/>
                      <a:pt x="50" y="44"/>
                      <a:pt x="50" y="35"/>
                    </a:cubicBezTo>
                    <a:cubicBezTo>
                      <a:pt x="50" y="23"/>
                      <a:pt x="44" y="14"/>
                      <a:pt x="34" y="14"/>
                    </a:cubicBezTo>
                    <a:cubicBezTo>
                      <a:pt x="27" y="14"/>
                      <a:pt x="19" y="19"/>
                      <a:pt x="19" y="35"/>
                    </a:cubicBezTo>
                    <a:cubicBezTo>
                      <a:pt x="19" y="44"/>
                      <a:pt x="20" y="59"/>
                      <a:pt x="34" y="59"/>
                    </a:cubicBezTo>
                    <a:close/>
                    <a:moveTo>
                      <a:pt x="68" y="1"/>
                    </a:moveTo>
                    <a:cubicBezTo>
                      <a:pt x="68" y="71"/>
                      <a:pt x="68" y="71"/>
                      <a:pt x="68" y="71"/>
                    </a:cubicBezTo>
                    <a:cubicBezTo>
                      <a:pt x="68" y="83"/>
                      <a:pt x="67" y="103"/>
                      <a:pt x="32" y="103"/>
                    </a:cubicBezTo>
                    <a:cubicBezTo>
                      <a:pt x="18" y="103"/>
                      <a:pt x="5" y="98"/>
                      <a:pt x="2" y="85"/>
                    </a:cubicBezTo>
                    <a:cubicBezTo>
                      <a:pt x="21" y="82"/>
                      <a:pt x="21" y="82"/>
                      <a:pt x="21" y="82"/>
                    </a:cubicBezTo>
                    <a:cubicBezTo>
                      <a:pt x="22" y="86"/>
                      <a:pt x="24" y="89"/>
                      <a:pt x="35" y="89"/>
                    </a:cubicBezTo>
                    <a:cubicBezTo>
                      <a:pt x="45" y="89"/>
                      <a:pt x="49" y="84"/>
                      <a:pt x="49" y="73"/>
                    </a:cubicBezTo>
                    <a:cubicBezTo>
                      <a:pt x="49" y="65"/>
                      <a:pt x="49" y="65"/>
                      <a:pt x="49" y="65"/>
                    </a:cubicBezTo>
                    <a:cubicBezTo>
                      <a:pt x="49" y="64"/>
                      <a:pt x="49" y="64"/>
                      <a:pt x="49" y="64"/>
                    </a:cubicBezTo>
                    <a:cubicBezTo>
                      <a:pt x="46" y="70"/>
                      <a:pt x="41" y="75"/>
                      <a:pt x="30" y="75"/>
                    </a:cubicBezTo>
                    <a:cubicBezTo>
                      <a:pt x="13" y="75"/>
                      <a:pt x="0" y="63"/>
                      <a:pt x="0" y="38"/>
                    </a:cubicBezTo>
                    <a:cubicBezTo>
                      <a:pt x="0" y="14"/>
                      <a:pt x="14" y="0"/>
                      <a:pt x="29" y="0"/>
                    </a:cubicBezTo>
                    <a:cubicBezTo>
                      <a:pt x="44" y="0"/>
                      <a:pt x="49" y="7"/>
                      <a:pt x="50" y="10"/>
                    </a:cubicBezTo>
                    <a:cubicBezTo>
                      <a:pt x="50" y="10"/>
                      <a:pt x="50" y="10"/>
                      <a:pt x="50" y="10"/>
                    </a:cubicBezTo>
                    <a:cubicBezTo>
                      <a:pt x="52" y="1"/>
                      <a:pt x="52" y="1"/>
                      <a:pt x="52" y="1"/>
                    </a:cubicBez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87" name="Freeform 14"/>
              <p:cNvSpPr>
                <a:spLocks noEditPoints="1"/>
              </p:cNvSpPr>
              <p:nvPr/>
            </p:nvSpPr>
            <p:spPr bwMode="auto">
              <a:xfrm>
                <a:off x="925513" y="4622801"/>
                <a:ext cx="65088" cy="30163"/>
              </a:xfrm>
              <a:custGeom>
                <a:avLst/>
                <a:gdLst>
                  <a:gd name="T0" fmla="*/ 15 w 41"/>
                  <a:gd name="T1" fmla="*/ 2 h 19"/>
                  <a:gd name="T2" fmla="*/ 9 w 41"/>
                  <a:gd name="T3" fmla="*/ 2 h 19"/>
                  <a:gd name="T4" fmla="*/ 9 w 41"/>
                  <a:gd name="T5" fmla="*/ 19 h 19"/>
                  <a:gd name="T6" fmla="*/ 5 w 41"/>
                  <a:gd name="T7" fmla="*/ 19 h 19"/>
                  <a:gd name="T8" fmla="*/ 5 w 41"/>
                  <a:gd name="T9" fmla="*/ 2 h 19"/>
                  <a:gd name="T10" fmla="*/ 0 w 41"/>
                  <a:gd name="T11" fmla="*/ 2 h 19"/>
                  <a:gd name="T12" fmla="*/ 0 w 41"/>
                  <a:gd name="T13" fmla="*/ 0 h 19"/>
                  <a:gd name="T14" fmla="*/ 15 w 41"/>
                  <a:gd name="T15" fmla="*/ 0 h 19"/>
                  <a:gd name="T16" fmla="*/ 15 w 41"/>
                  <a:gd name="T17" fmla="*/ 2 h 19"/>
                  <a:gd name="T18" fmla="*/ 41 w 41"/>
                  <a:gd name="T19" fmla="*/ 19 h 19"/>
                  <a:gd name="T20" fmla="*/ 38 w 41"/>
                  <a:gd name="T21" fmla="*/ 19 h 19"/>
                  <a:gd name="T22" fmla="*/ 38 w 41"/>
                  <a:gd name="T23" fmla="*/ 3 h 19"/>
                  <a:gd name="T24" fmla="*/ 37 w 41"/>
                  <a:gd name="T25" fmla="*/ 3 h 19"/>
                  <a:gd name="T26" fmla="*/ 31 w 41"/>
                  <a:gd name="T27" fmla="*/ 19 h 19"/>
                  <a:gd name="T28" fmla="*/ 29 w 41"/>
                  <a:gd name="T29" fmla="*/ 19 h 19"/>
                  <a:gd name="T30" fmla="*/ 22 w 41"/>
                  <a:gd name="T31" fmla="*/ 3 h 19"/>
                  <a:gd name="T32" fmla="*/ 22 w 41"/>
                  <a:gd name="T33" fmla="*/ 3 h 19"/>
                  <a:gd name="T34" fmla="*/ 22 w 41"/>
                  <a:gd name="T35" fmla="*/ 19 h 19"/>
                  <a:gd name="T36" fmla="*/ 19 w 41"/>
                  <a:gd name="T37" fmla="*/ 19 h 19"/>
                  <a:gd name="T38" fmla="*/ 19 w 41"/>
                  <a:gd name="T39" fmla="*/ 0 h 19"/>
                  <a:gd name="T40" fmla="*/ 24 w 41"/>
                  <a:gd name="T41" fmla="*/ 0 h 19"/>
                  <a:gd name="T42" fmla="*/ 30 w 41"/>
                  <a:gd name="T43" fmla="*/ 15 h 19"/>
                  <a:gd name="T44" fmla="*/ 35 w 41"/>
                  <a:gd name="T45" fmla="*/ 0 h 19"/>
                  <a:gd name="T46" fmla="*/ 41 w 41"/>
                  <a:gd name="T47" fmla="*/ 0 h 19"/>
                  <a:gd name="T48" fmla="*/ 41 w 41"/>
                  <a:gd name="T4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9">
                    <a:moveTo>
                      <a:pt x="15" y="2"/>
                    </a:moveTo>
                    <a:lnTo>
                      <a:pt x="9" y="2"/>
                    </a:lnTo>
                    <a:lnTo>
                      <a:pt x="9" y="19"/>
                    </a:lnTo>
                    <a:lnTo>
                      <a:pt x="5" y="19"/>
                    </a:lnTo>
                    <a:lnTo>
                      <a:pt x="5" y="2"/>
                    </a:lnTo>
                    <a:lnTo>
                      <a:pt x="0" y="2"/>
                    </a:lnTo>
                    <a:lnTo>
                      <a:pt x="0" y="0"/>
                    </a:lnTo>
                    <a:lnTo>
                      <a:pt x="15" y="0"/>
                    </a:lnTo>
                    <a:lnTo>
                      <a:pt x="15" y="2"/>
                    </a:lnTo>
                    <a:close/>
                    <a:moveTo>
                      <a:pt x="41" y="19"/>
                    </a:moveTo>
                    <a:lnTo>
                      <a:pt x="38" y="19"/>
                    </a:lnTo>
                    <a:lnTo>
                      <a:pt x="38" y="3"/>
                    </a:lnTo>
                    <a:lnTo>
                      <a:pt x="37" y="3"/>
                    </a:lnTo>
                    <a:lnTo>
                      <a:pt x="31" y="19"/>
                    </a:lnTo>
                    <a:lnTo>
                      <a:pt x="29" y="19"/>
                    </a:lnTo>
                    <a:lnTo>
                      <a:pt x="22" y="3"/>
                    </a:lnTo>
                    <a:lnTo>
                      <a:pt x="22" y="3"/>
                    </a:lnTo>
                    <a:lnTo>
                      <a:pt x="22" y="19"/>
                    </a:lnTo>
                    <a:lnTo>
                      <a:pt x="19" y="19"/>
                    </a:lnTo>
                    <a:lnTo>
                      <a:pt x="19" y="0"/>
                    </a:lnTo>
                    <a:lnTo>
                      <a:pt x="24" y="0"/>
                    </a:lnTo>
                    <a:lnTo>
                      <a:pt x="30" y="15"/>
                    </a:lnTo>
                    <a:lnTo>
                      <a:pt x="35" y="0"/>
                    </a:lnTo>
                    <a:lnTo>
                      <a:pt x="41" y="0"/>
                    </a:lnTo>
                    <a:lnTo>
                      <a:pt x="4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grpSp>
        <p:grpSp>
          <p:nvGrpSpPr>
            <p:cNvPr id="35" name="Group 34"/>
            <p:cNvGrpSpPr/>
            <p:nvPr/>
          </p:nvGrpSpPr>
          <p:grpSpPr>
            <a:xfrm>
              <a:off x="1173163" y="4383088"/>
              <a:ext cx="1039813" cy="431800"/>
              <a:chOff x="1173163" y="4383088"/>
              <a:chExt cx="1039813" cy="431800"/>
            </a:xfrm>
            <a:solidFill>
              <a:schemeClr val="tx1"/>
            </a:solidFill>
          </p:grpSpPr>
          <p:sp>
            <p:nvSpPr>
              <p:cNvPr id="36" name="Freeform 15"/>
              <p:cNvSpPr>
                <a:spLocks noEditPoints="1"/>
              </p:cNvSpPr>
              <p:nvPr/>
            </p:nvSpPr>
            <p:spPr bwMode="auto">
              <a:xfrm>
                <a:off x="1184275" y="4383088"/>
                <a:ext cx="149225" cy="177800"/>
              </a:xfrm>
              <a:custGeom>
                <a:avLst/>
                <a:gdLst>
                  <a:gd name="T0" fmla="*/ 65 w 116"/>
                  <a:gd name="T1" fmla="*/ 0 h 138"/>
                  <a:gd name="T2" fmla="*/ 83 w 116"/>
                  <a:gd name="T3" fmla="*/ 2 h 138"/>
                  <a:gd name="T4" fmla="*/ 97 w 116"/>
                  <a:gd name="T5" fmla="*/ 7 h 138"/>
                  <a:gd name="T6" fmla="*/ 106 w 116"/>
                  <a:gd name="T7" fmla="*/ 18 h 138"/>
                  <a:gd name="T8" fmla="*/ 109 w 116"/>
                  <a:gd name="T9" fmla="*/ 34 h 138"/>
                  <a:gd name="T10" fmla="*/ 104 w 116"/>
                  <a:gd name="T11" fmla="*/ 52 h 138"/>
                  <a:gd name="T12" fmla="*/ 90 w 116"/>
                  <a:gd name="T13" fmla="*/ 63 h 138"/>
                  <a:gd name="T14" fmla="*/ 109 w 116"/>
                  <a:gd name="T15" fmla="*/ 76 h 138"/>
                  <a:gd name="T16" fmla="*/ 116 w 116"/>
                  <a:gd name="T17" fmla="*/ 98 h 138"/>
                  <a:gd name="T18" fmla="*/ 112 w 116"/>
                  <a:gd name="T19" fmla="*/ 116 h 138"/>
                  <a:gd name="T20" fmla="*/ 101 w 116"/>
                  <a:gd name="T21" fmla="*/ 129 h 138"/>
                  <a:gd name="T22" fmla="*/ 85 w 116"/>
                  <a:gd name="T23" fmla="*/ 136 h 138"/>
                  <a:gd name="T24" fmla="*/ 67 w 116"/>
                  <a:gd name="T25" fmla="*/ 138 h 138"/>
                  <a:gd name="T26" fmla="*/ 0 w 116"/>
                  <a:gd name="T27" fmla="*/ 138 h 138"/>
                  <a:gd name="T28" fmla="*/ 0 w 116"/>
                  <a:gd name="T29" fmla="*/ 0 h 138"/>
                  <a:gd name="T30" fmla="*/ 65 w 116"/>
                  <a:gd name="T31" fmla="*/ 0 h 138"/>
                  <a:gd name="T32" fmla="*/ 61 w 116"/>
                  <a:gd name="T33" fmla="*/ 56 h 138"/>
                  <a:gd name="T34" fmla="*/ 74 w 116"/>
                  <a:gd name="T35" fmla="*/ 52 h 138"/>
                  <a:gd name="T36" fmla="*/ 80 w 116"/>
                  <a:gd name="T37" fmla="*/ 39 h 138"/>
                  <a:gd name="T38" fmla="*/ 78 w 116"/>
                  <a:gd name="T39" fmla="*/ 32 h 138"/>
                  <a:gd name="T40" fmla="*/ 73 w 116"/>
                  <a:gd name="T41" fmla="*/ 27 h 138"/>
                  <a:gd name="T42" fmla="*/ 67 w 116"/>
                  <a:gd name="T43" fmla="*/ 24 h 138"/>
                  <a:gd name="T44" fmla="*/ 59 w 116"/>
                  <a:gd name="T45" fmla="*/ 24 h 138"/>
                  <a:gd name="T46" fmla="*/ 30 w 116"/>
                  <a:gd name="T47" fmla="*/ 24 h 138"/>
                  <a:gd name="T48" fmla="*/ 30 w 116"/>
                  <a:gd name="T49" fmla="*/ 56 h 138"/>
                  <a:gd name="T50" fmla="*/ 61 w 116"/>
                  <a:gd name="T51" fmla="*/ 56 h 138"/>
                  <a:gd name="T52" fmla="*/ 63 w 116"/>
                  <a:gd name="T53" fmla="*/ 115 h 138"/>
                  <a:gd name="T54" fmla="*/ 71 w 116"/>
                  <a:gd name="T55" fmla="*/ 114 h 138"/>
                  <a:gd name="T56" fmla="*/ 78 w 116"/>
                  <a:gd name="T57" fmla="*/ 111 h 138"/>
                  <a:gd name="T58" fmla="*/ 83 w 116"/>
                  <a:gd name="T59" fmla="*/ 105 h 138"/>
                  <a:gd name="T60" fmla="*/ 85 w 116"/>
                  <a:gd name="T61" fmla="*/ 96 h 138"/>
                  <a:gd name="T62" fmla="*/ 79 w 116"/>
                  <a:gd name="T63" fmla="*/ 81 h 138"/>
                  <a:gd name="T64" fmla="*/ 63 w 116"/>
                  <a:gd name="T65" fmla="*/ 77 h 138"/>
                  <a:gd name="T66" fmla="*/ 30 w 116"/>
                  <a:gd name="T67" fmla="*/ 77 h 138"/>
                  <a:gd name="T68" fmla="*/ 30 w 116"/>
                  <a:gd name="T69" fmla="*/ 115 h 138"/>
                  <a:gd name="T70" fmla="*/ 63 w 116"/>
                  <a:gd name="T71" fmla="*/ 1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38">
                    <a:moveTo>
                      <a:pt x="65" y="0"/>
                    </a:moveTo>
                    <a:cubicBezTo>
                      <a:pt x="72" y="0"/>
                      <a:pt x="78" y="1"/>
                      <a:pt x="83" y="2"/>
                    </a:cubicBezTo>
                    <a:cubicBezTo>
                      <a:pt x="88" y="3"/>
                      <a:pt x="93" y="5"/>
                      <a:pt x="97" y="7"/>
                    </a:cubicBezTo>
                    <a:cubicBezTo>
                      <a:pt x="101" y="10"/>
                      <a:pt x="104" y="14"/>
                      <a:pt x="106" y="18"/>
                    </a:cubicBezTo>
                    <a:cubicBezTo>
                      <a:pt x="108" y="22"/>
                      <a:pt x="109" y="28"/>
                      <a:pt x="109" y="34"/>
                    </a:cubicBezTo>
                    <a:cubicBezTo>
                      <a:pt x="109" y="41"/>
                      <a:pt x="107" y="47"/>
                      <a:pt x="104" y="52"/>
                    </a:cubicBezTo>
                    <a:cubicBezTo>
                      <a:pt x="101" y="56"/>
                      <a:pt x="96" y="60"/>
                      <a:pt x="90" y="63"/>
                    </a:cubicBezTo>
                    <a:cubicBezTo>
                      <a:pt x="99" y="66"/>
                      <a:pt x="105" y="70"/>
                      <a:pt x="109" y="76"/>
                    </a:cubicBezTo>
                    <a:cubicBezTo>
                      <a:pt x="114" y="82"/>
                      <a:pt x="116" y="89"/>
                      <a:pt x="116" y="98"/>
                    </a:cubicBezTo>
                    <a:cubicBezTo>
                      <a:pt x="116" y="105"/>
                      <a:pt x="114" y="111"/>
                      <a:pt x="112" y="116"/>
                    </a:cubicBezTo>
                    <a:cubicBezTo>
                      <a:pt x="109" y="121"/>
                      <a:pt x="105" y="126"/>
                      <a:pt x="101" y="129"/>
                    </a:cubicBezTo>
                    <a:cubicBezTo>
                      <a:pt x="96" y="132"/>
                      <a:pt x="91" y="134"/>
                      <a:pt x="85" y="136"/>
                    </a:cubicBezTo>
                    <a:cubicBezTo>
                      <a:pt x="79" y="137"/>
                      <a:pt x="73" y="138"/>
                      <a:pt x="67" y="138"/>
                    </a:cubicBezTo>
                    <a:cubicBezTo>
                      <a:pt x="0" y="138"/>
                      <a:pt x="0" y="138"/>
                      <a:pt x="0" y="138"/>
                    </a:cubicBezTo>
                    <a:cubicBezTo>
                      <a:pt x="0" y="0"/>
                      <a:pt x="0" y="0"/>
                      <a:pt x="0" y="0"/>
                    </a:cubicBezTo>
                    <a:lnTo>
                      <a:pt x="65" y="0"/>
                    </a:lnTo>
                    <a:close/>
                    <a:moveTo>
                      <a:pt x="61" y="56"/>
                    </a:moveTo>
                    <a:cubicBezTo>
                      <a:pt x="66" y="56"/>
                      <a:pt x="71" y="55"/>
                      <a:pt x="74" y="52"/>
                    </a:cubicBezTo>
                    <a:cubicBezTo>
                      <a:pt x="78" y="49"/>
                      <a:pt x="80" y="45"/>
                      <a:pt x="80" y="39"/>
                    </a:cubicBezTo>
                    <a:cubicBezTo>
                      <a:pt x="80" y="36"/>
                      <a:pt x="79" y="34"/>
                      <a:pt x="78" y="32"/>
                    </a:cubicBezTo>
                    <a:cubicBezTo>
                      <a:pt x="77" y="29"/>
                      <a:pt x="75" y="28"/>
                      <a:pt x="73" y="27"/>
                    </a:cubicBezTo>
                    <a:cubicBezTo>
                      <a:pt x="71" y="26"/>
                      <a:pt x="69" y="25"/>
                      <a:pt x="67" y="24"/>
                    </a:cubicBezTo>
                    <a:cubicBezTo>
                      <a:pt x="64" y="24"/>
                      <a:pt x="61" y="24"/>
                      <a:pt x="59" y="24"/>
                    </a:cubicBezTo>
                    <a:cubicBezTo>
                      <a:pt x="30" y="24"/>
                      <a:pt x="30" y="24"/>
                      <a:pt x="30" y="24"/>
                    </a:cubicBezTo>
                    <a:cubicBezTo>
                      <a:pt x="30" y="56"/>
                      <a:pt x="30" y="56"/>
                      <a:pt x="30" y="56"/>
                    </a:cubicBezTo>
                    <a:lnTo>
                      <a:pt x="61" y="56"/>
                    </a:lnTo>
                    <a:close/>
                    <a:moveTo>
                      <a:pt x="63" y="115"/>
                    </a:moveTo>
                    <a:cubicBezTo>
                      <a:pt x="66" y="115"/>
                      <a:pt x="69" y="114"/>
                      <a:pt x="71" y="114"/>
                    </a:cubicBezTo>
                    <a:cubicBezTo>
                      <a:pt x="74" y="113"/>
                      <a:pt x="76" y="112"/>
                      <a:pt x="78" y="111"/>
                    </a:cubicBezTo>
                    <a:cubicBezTo>
                      <a:pt x="81" y="109"/>
                      <a:pt x="82" y="108"/>
                      <a:pt x="83" y="105"/>
                    </a:cubicBezTo>
                    <a:cubicBezTo>
                      <a:pt x="85" y="103"/>
                      <a:pt x="85" y="100"/>
                      <a:pt x="85" y="96"/>
                    </a:cubicBezTo>
                    <a:cubicBezTo>
                      <a:pt x="85" y="89"/>
                      <a:pt x="83" y="84"/>
                      <a:pt x="79" y="81"/>
                    </a:cubicBezTo>
                    <a:cubicBezTo>
                      <a:pt x="75" y="78"/>
                      <a:pt x="70" y="77"/>
                      <a:pt x="63" y="77"/>
                    </a:cubicBezTo>
                    <a:cubicBezTo>
                      <a:pt x="30" y="77"/>
                      <a:pt x="30" y="77"/>
                      <a:pt x="30" y="77"/>
                    </a:cubicBezTo>
                    <a:cubicBezTo>
                      <a:pt x="30" y="115"/>
                      <a:pt x="30" y="115"/>
                      <a:pt x="30" y="115"/>
                    </a:cubicBezTo>
                    <a:lnTo>
                      <a:pt x="63"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37" name="Freeform 16"/>
              <p:cNvSpPr>
                <a:spLocks/>
              </p:cNvSpPr>
              <p:nvPr/>
            </p:nvSpPr>
            <p:spPr bwMode="auto">
              <a:xfrm>
                <a:off x="1352550" y="4432301"/>
                <a:ext cx="120650" cy="131763"/>
              </a:xfrm>
              <a:custGeom>
                <a:avLst/>
                <a:gdLst>
                  <a:gd name="T0" fmla="*/ 68 w 94"/>
                  <a:gd name="T1" fmla="*/ 100 h 103"/>
                  <a:gd name="T2" fmla="*/ 68 w 94"/>
                  <a:gd name="T3" fmla="*/ 86 h 103"/>
                  <a:gd name="T4" fmla="*/ 67 w 94"/>
                  <a:gd name="T5" fmla="*/ 86 h 103"/>
                  <a:gd name="T6" fmla="*/ 53 w 94"/>
                  <a:gd name="T7" fmla="*/ 99 h 103"/>
                  <a:gd name="T8" fmla="*/ 36 w 94"/>
                  <a:gd name="T9" fmla="*/ 103 h 103"/>
                  <a:gd name="T10" fmla="*/ 18 w 94"/>
                  <a:gd name="T11" fmla="*/ 100 h 103"/>
                  <a:gd name="T12" fmla="*/ 7 w 94"/>
                  <a:gd name="T13" fmla="*/ 92 h 103"/>
                  <a:gd name="T14" fmla="*/ 1 w 94"/>
                  <a:gd name="T15" fmla="*/ 79 h 103"/>
                  <a:gd name="T16" fmla="*/ 0 w 94"/>
                  <a:gd name="T17" fmla="*/ 62 h 103"/>
                  <a:gd name="T18" fmla="*/ 0 w 94"/>
                  <a:gd name="T19" fmla="*/ 0 h 103"/>
                  <a:gd name="T20" fmla="*/ 27 w 94"/>
                  <a:gd name="T21" fmla="*/ 0 h 103"/>
                  <a:gd name="T22" fmla="*/ 27 w 94"/>
                  <a:gd name="T23" fmla="*/ 57 h 103"/>
                  <a:gd name="T24" fmla="*/ 31 w 94"/>
                  <a:gd name="T25" fmla="*/ 75 h 103"/>
                  <a:gd name="T26" fmla="*/ 45 w 94"/>
                  <a:gd name="T27" fmla="*/ 81 h 103"/>
                  <a:gd name="T28" fmla="*/ 61 w 94"/>
                  <a:gd name="T29" fmla="*/ 75 h 103"/>
                  <a:gd name="T30" fmla="*/ 66 w 94"/>
                  <a:gd name="T31" fmla="*/ 53 h 103"/>
                  <a:gd name="T32" fmla="*/ 66 w 94"/>
                  <a:gd name="T33" fmla="*/ 0 h 103"/>
                  <a:gd name="T34" fmla="*/ 94 w 94"/>
                  <a:gd name="T35" fmla="*/ 0 h 103"/>
                  <a:gd name="T36" fmla="*/ 94 w 94"/>
                  <a:gd name="T37" fmla="*/ 100 h 103"/>
                  <a:gd name="T38" fmla="*/ 68 w 94"/>
                  <a:gd name="T39"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68" y="100"/>
                    </a:moveTo>
                    <a:cubicBezTo>
                      <a:pt x="68" y="86"/>
                      <a:pt x="68" y="86"/>
                      <a:pt x="68" y="86"/>
                    </a:cubicBezTo>
                    <a:cubicBezTo>
                      <a:pt x="67" y="86"/>
                      <a:pt x="67" y="86"/>
                      <a:pt x="67" y="86"/>
                    </a:cubicBezTo>
                    <a:cubicBezTo>
                      <a:pt x="64" y="92"/>
                      <a:pt x="59" y="96"/>
                      <a:pt x="53" y="99"/>
                    </a:cubicBezTo>
                    <a:cubicBezTo>
                      <a:pt x="48" y="101"/>
                      <a:pt x="42" y="103"/>
                      <a:pt x="36" y="103"/>
                    </a:cubicBezTo>
                    <a:cubicBezTo>
                      <a:pt x="29" y="103"/>
                      <a:pt x="23" y="102"/>
                      <a:pt x="18" y="100"/>
                    </a:cubicBezTo>
                    <a:cubicBezTo>
                      <a:pt x="14" y="98"/>
                      <a:pt x="10" y="95"/>
                      <a:pt x="7" y="92"/>
                    </a:cubicBezTo>
                    <a:cubicBezTo>
                      <a:pt x="4" y="88"/>
                      <a:pt x="3" y="84"/>
                      <a:pt x="1" y="79"/>
                    </a:cubicBezTo>
                    <a:cubicBezTo>
                      <a:pt x="0" y="74"/>
                      <a:pt x="0" y="68"/>
                      <a:pt x="0" y="62"/>
                    </a:cubicBezTo>
                    <a:cubicBezTo>
                      <a:pt x="0" y="0"/>
                      <a:pt x="0" y="0"/>
                      <a:pt x="0" y="0"/>
                    </a:cubicBezTo>
                    <a:cubicBezTo>
                      <a:pt x="27" y="0"/>
                      <a:pt x="27" y="0"/>
                      <a:pt x="27" y="0"/>
                    </a:cubicBezTo>
                    <a:cubicBezTo>
                      <a:pt x="27" y="57"/>
                      <a:pt x="27" y="57"/>
                      <a:pt x="27" y="57"/>
                    </a:cubicBezTo>
                    <a:cubicBezTo>
                      <a:pt x="27" y="65"/>
                      <a:pt x="29" y="71"/>
                      <a:pt x="31" y="75"/>
                    </a:cubicBezTo>
                    <a:cubicBezTo>
                      <a:pt x="34" y="79"/>
                      <a:pt x="38" y="81"/>
                      <a:pt x="45" y="81"/>
                    </a:cubicBezTo>
                    <a:cubicBezTo>
                      <a:pt x="52" y="81"/>
                      <a:pt x="58" y="79"/>
                      <a:pt x="61" y="75"/>
                    </a:cubicBezTo>
                    <a:cubicBezTo>
                      <a:pt x="65" y="70"/>
                      <a:pt x="66" y="63"/>
                      <a:pt x="66" y="53"/>
                    </a:cubicBezTo>
                    <a:cubicBezTo>
                      <a:pt x="66" y="0"/>
                      <a:pt x="66" y="0"/>
                      <a:pt x="66" y="0"/>
                    </a:cubicBezTo>
                    <a:cubicBezTo>
                      <a:pt x="94" y="0"/>
                      <a:pt x="94" y="0"/>
                      <a:pt x="94" y="0"/>
                    </a:cubicBezTo>
                    <a:cubicBezTo>
                      <a:pt x="94" y="100"/>
                      <a:pt x="94" y="100"/>
                      <a:pt x="94" y="100"/>
                    </a:cubicBezTo>
                    <a:lnTo>
                      <a:pt x="6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38" name="Freeform 17"/>
              <p:cNvSpPr>
                <a:spLocks/>
              </p:cNvSpPr>
              <p:nvPr/>
            </p:nvSpPr>
            <p:spPr bwMode="auto">
              <a:xfrm>
                <a:off x="1489075" y="4427538"/>
                <a:ext cx="120650" cy="136525"/>
              </a:xfrm>
              <a:custGeom>
                <a:avLst/>
                <a:gdLst>
                  <a:gd name="T0" fmla="*/ 28 w 93"/>
                  <a:gd name="T1" fmla="*/ 78 h 106"/>
                  <a:gd name="T2" fmla="*/ 33 w 93"/>
                  <a:gd name="T3" fmla="*/ 84 h 106"/>
                  <a:gd name="T4" fmla="*/ 40 w 93"/>
                  <a:gd name="T5" fmla="*/ 87 h 106"/>
                  <a:gd name="T6" fmla="*/ 47 w 93"/>
                  <a:gd name="T7" fmla="*/ 88 h 106"/>
                  <a:gd name="T8" fmla="*/ 54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3 w 93"/>
                  <a:gd name="T21" fmla="*/ 56 h 106"/>
                  <a:gd name="T22" fmla="*/ 12 w 93"/>
                  <a:gd name="T23" fmla="*/ 51 h 106"/>
                  <a:gd name="T24" fmla="*/ 5 w 93"/>
                  <a:gd name="T25" fmla="*/ 44 h 106"/>
                  <a:gd name="T26" fmla="*/ 3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6 w 93"/>
                  <a:gd name="T39" fmla="*/ 7 h 106"/>
                  <a:gd name="T40" fmla="*/ 86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2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9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40" y="87"/>
                    </a:cubicBezTo>
                    <a:cubicBezTo>
                      <a:pt x="42" y="87"/>
                      <a:pt x="45" y="88"/>
                      <a:pt x="47" y="88"/>
                    </a:cubicBezTo>
                    <a:cubicBezTo>
                      <a:pt x="49" y="88"/>
                      <a:pt x="51" y="87"/>
                      <a:pt x="54" y="87"/>
                    </a:cubicBezTo>
                    <a:cubicBezTo>
                      <a:pt x="56" y="86"/>
                      <a:pt x="58" y="86"/>
                      <a:pt x="59" y="85"/>
                    </a:cubicBezTo>
                    <a:cubicBezTo>
                      <a:pt x="61" y="84"/>
                      <a:pt x="63" y="82"/>
                      <a:pt x="64" y="81"/>
                    </a:cubicBezTo>
                    <a:cubicBezTo>
                      <a:pt x="65" y="79"/>
                      <a:pt x="65" y="77"/>
                      <a:pt x="65" y="75"/>
                    </a:cubicBezTo>
                    <a:cubicBezTo>
                      <a:pt x="65" y="71"/>
                      <a:pt x="63" y="68"/>
                      <a:pt x="57" y="65"/>
                    </a:cubicBezTo>
                    <a:cubicBezTo>
                      <a:pt x="52" y="63"/>
                      <a:pt x="44" y="61"/>
                      <a:pt x="34" y="59"/>
                    </a:cubicBezTo>
                    <a:cubicBezTo>
                      <a:pt x="30" y="58"/>
                      <a:pt x="26" y="57"/>
                      <a:pt x="23" y="56"/>
                    </a:cubicBezTo>
                    <a:cubicBezTo>
                      <a:pt x="19" y="55"/>
                      <a:pt x="15" y="53"/>
                      <a:pt x="12" y="51"/>
                    </a:cubicBezTo>
                    <a:cubicBezTo>
                      <a:pt x="9" y="49"/>
                      <a:pt x="7" y="47"/>
                      <a:pt x="5" y="44"/>
                    </a:cubicBezTo>
                    <a:cubicBezTo>
                      <a:pt x="3" y="41"/>
                      <a:pt x="3" y="37"/>
                      <a:pt x="3" y="33"/>
                    </a:cubicBezTo>
                    <a:cubicBezTo>
                      <a:pt x="3" y="26"/>
                      <a:pt x="4" y="21"/>
                      <a:pt x="6" y="17"/>
                    </a:cubicBezTo>
                    <a:cubicBezTo>
                      <a:pt x="9" y="13"/>
                      <a:pt x="12" y="9"/>
                      <a:pt x="16" y="7"/>
                    </a:cubicBezTo>
                    <a:cubicBezTo>
                      <a:pt x="20" y="4"/>
                      <a:pt x="25" y="3"/>
                      <a:pt x="30" y="2"/>
                    </a:cubicBezTo>
                    <a:cubicBezTo>
                      <a:pt x="35" y="1"/>
                      <a:pt x="41" y="0"/>
                      <a:pt x="46" y="0"/>
                    </a:cubicBezTo>
                    <a:cubicBezTo>
                      <a:pt x="52" y="0"/>
                      <a:pt x="57" y="1"/>
                      <a:pt x="62" y="2"/>
                    </a:cubicBezTo>
                    <a:cubicBezTo>
                      <a:pt x="67" y="3"/>
                      <a:pt x="72" y="5"/>
                      <a:pt x="76" y="7"/>
                    </a:cubicBezTo>
                    <a:cubicBezTo>
                      <a:pt x="80" y="10"/>
                      <a:pt x="83" y="13"/>
                      <a:pt x="86" y="17"/>
                    </a:cubicBezTo>
                    <a:cubicBezTo>
                      <a:pt x="88" y="21"/>
                      <a:pt x="90" y="26"/>
                      <a:pt x="90" y="32"/>
                    </a:cubicBezTo>
                    <a:cubicBezTo>
                      <a:pt x="64" y="32"/>
                      <a:pt x="64" y="32"/>
                      <a:pt x="64" y="32"/>
                    </a:cubicBezTo>
                    <a:cubicBezTo>
                      <a:pt x="64" y="27"/>
                      <a:pt x="62" y="23"/>
                      <a:pt x="58" y="22"/>
                    </a:cubicBezTo>
                    <a:cubicBezTo>
                      <a:pt x="54" y="20"/>
                      <a:pt x="50" y="19"/>
                      <a:pt x="45" y="19"/>
                    </a:cubicBezTo>
                    <a:cubicBezTo>
                      <a:pt x="44" y="19"/>
                      <a:pt x="42" y="19"/>
                      <a:pt x="40" y="19"/>
                    </a:cubicBezTo>
                    <a:cubicBezTo>
                      <a:pt x="38" y="19"/>
                      <a:pt x="37" y="20"/>
                      <a:pt x="35" y="20"/>
                    </a:cubicBezTo>
                    <a:cubicBezTo>
                      <a:pt x="34" y="21"/>
                      <a:pt x="33" y="22"/>
                      <a:pt x="32" y="23"/>
                    </a:cubicBezTo>
                    <a:cubicBezTo>
                      <a:pt x="31" y="24"/>
                      <a:pt x="30" y="26"/>
                      <a:pt x="30" y="28"/>
                    </a:cubicBezTo>
                    <a:cubicBezTo>
                      <a:pt x="30" y="31"/>
                      <a:pt x="31" y="33"/>
                      <a:pt x="33" y="34"/>
                    </a:cubicBezTo>
                    <a:cubicBezTo>
                      <a:pt x="35" y="36"/>
                      <a:pt x="37" y="37"/>
                      <a:pt x="40" y="38"/>
                    </a:cubicBezTo>
                    <a:cubicBezTo>
                      <a:pt x="43" y="39"/>
                      <a:pt x="46" y="40"/>
                      <a:pt x="50" y="40"/>
                    </a:cubicBezTo>
                    <a:cubicBezTo>
                      <a:pt x="54" y="41"/>
                      <a:pt x="57" y="42"/>
                      <a:pt x="61" y="43"/>
                    </a:cubicBezTo>
                    <a:cubicBezTo>
                      <a:pt x="65" y="44"/>
                      <a:pt x="69" y="45"/>
                      <a:pt x="73" y="46"/>
                    </a:cubicBezTo>
                    <a:cubicBezTo>
                      <a:pt x="77" y="48"/>
                      <a:pt x="80" y="49"/>
                      <a:pt x="83" y="51"/>
                    </a:cubicBezTo>
                    <a:cubicBezTo>
                      <a:pt x="86" y="54"/>
                      <a:pt x="88" y="56"/>
                      <a:pt x="90" y="59"/>
                    </a:cubicBezTo>
                    <a:cubicBezTo>
                      <a:pt x="92" y="63"/>
                      <a:pt x="93" y="66"/>
                      <a:pt x="93" y="71"/>
                    </a:cubicBezTo>
                    <a:cubicBezTo>
                      <a:pt x="93" y="78"/>
                      <a:pt x="92" y="83"/>
                      <a:pt x="89" y="88"/>
                    </a:cubicBezTo>
                    <a:cubicBezTo>
                      <a:pt x="86" y="92"/>
                      <a:pt x="83" y="96"/>
                      <a:pt x="79" y="98"/>
                    </a:cubicBezTo>
                    <a:cubicBezTo>
                      <a:pt x="74" y="101"/>
                      <a:pt x="69" y="103"/>
                      <a:pt x="64" y="104"/>
                    </a:cubicBezTo>
                    <a:cubicBezTo>
                      <a:pt x="59" y="105"/>
                      <a:pt x="53" y="106"/>
                      <a:pt x="47" y="106"/>
                    </a:cubicBezTo>
                    <a:cubicBezTo>
                      <a:pt x="41" y="106"/>
                      <a:pt x="36" y="105"/>
                      <a:pt x="30" y="104"/>
                    </a:cubicBezTo>
                    <a:cubicBezTo>
                      <a:pt x="25" y="103"/>
                      <a:pt x="20" y="101"/>
                      <a:pt x="15" y="98"/>
                    </a:cubicBezTo>
                    <a:cubicBezTo>
                      <a:pt x="11" y="95"/>
                      <a:pt x="8" y="92"/>
                      <a:pt x="5" y="87"/>
                    </a:cubicBezTo>
                    <a:cubicBezTo>
                      <a:pt x="2" y="83"/>
                      <a:pt x="0" y="77"/>
                      <a:pt x="0" y="71"/>
                    </a:cubicBezTo>
                    <a:cubicBezTo>
                      <a:pt x="26" y="71"/>
                      <a:pt x="26" y="71"/>
                      <a:pt x="26" y="71"/>
                    </a:cubicBezTo>
                    <a:cubicBezTo>
                      <a:pt x="26" y="74"/>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39" name="Freeform 18"/>
              <p:cNvSpPr>
                <a:spLocks noEditPoints="1"/>
              </p:cNvSpPr>
              <p:nvPr/>
            </p:nvSpPr>
            <p:spPr bwMode="auto">
              <a:xfrm>
                <a:off x="1627188" y="4383088"/>
                <a:ext cx="36513" cy="177800"/>
              </a:xfrm>
              <a:custGeom>
                <a:avLst/>
                <a:gdLst>
                  <a:gd name="T0" fmla="*/ 0 w 23"/>
                  <a:gd name="T1" fmla="*/ 18 h 112"/>
                  <a:gd name="T2" fmla="*/ 0 w 23"/>
                  <a:gd name="T3" fmla="*/ 0 h 112"/>
                  <a:gd name="T4" fmla="*/ 23 w 23"/>
                  <a:gd name="T5" fmla="*/ 0 h 112"/>
                  <a:gd name="T6" fmla="*/ 23 w 23"/>
                  <a:gd name="T7" fmla="*/ 18 h 112"/>
                  <a:gd name="T8" fmla="*/ 0 w 23"/>
                  <a:gd name="T9" fmla="*/ 18 h 112"/>
                  <a:gd name="T10" fmla="*/ 23 w 23"/>
                  <a:gd name="T11" fmla="*/ 31 h 112"/>
                  <a:gd name="T12" fmla="*/ 23 w 23"/>
                  <a:gd name="T13" fmla="*/ 112 h 112"/>
                  <a:gd name="T14" fmla="*/ 0 w 23"/>
                  <a:gd name="T15" fmla="*/ 112 h 112"/>
                  <a:gd name="T16" fmla="*/ 0 w 23"/>
                  <a:gd name="T17" fmla="*/ 31 h 112"/>
                  <a:gd name="T18" fmla="*/ 23 w 23"/>
                  <a:gd name="T19" fmla="*/ 3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12">
                    <a:moveTo>
                      <a:pt x="0" y="18"/>
                    </a:moveTo>
                    <a:lnTo>
                      <a:pt x="0" y="0"/>
                    </a:lnTo>
                    <a:lnTo>
                      <a:pt x="23" y="0"/>
                    </a:lnTo>
                    <a:lnTo>
                      <a:pt x="23" y="18"/>
                    </a:lnTo>
                    <a:lnTo>
                      <a:pt x="0" y="18"/>
                    </a:lnTo>
                    <a:close/>
                    <a:moveTo>
                      <a:pt x="23" y="31"/>
                    </a:moveTo>
                    <a:lnTo>
                      <a:pt x="23" y="112"/>
                    </a:lnTo>
                    <a:lnTo>
                      <a:pt x="0" y="112"/>
                    </a:lnTo>
                    <a:lnTo>
                      <a:pt x="0" y="31"/>
                    </a:lnTo>
                    <a:lnTo>
                      <a:pt x="2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0" name="Freeform 19"/>
              <p:cNvSpPr>
                <a:spLocks/>
              </p:cNvSpPr>
              <p:nvPr/>
            </p:nvSpPr>
            <p:spPr bwMode="auto">
              <a:xfrm>
                <a:off x="1685925" y="4427538"/>
                <a:ext cx="122238" cy="133350"/>
              </a:xfrm>
              <a:custGeom>
                <a:avLst/>
                <a:gdLst>
                  <a:gd name="T0" fmla="*/ 26 w 94"/>
                  <a:gd name="T1" fmla="*/ 3 h 103"/>
                  <a:gd name="T2" fmla="*/ 26 w 94"/>
                  <a:gd name="T3" fmla="*/ 17 h 103"/>
                  <a:gd name="T4" fmla="*/ 27 w 94"/>
                  <a:gd name="T5" fmla="*/ 17 h 103"/>
                  <a:gd name="T6" fmla="*/ 40 w 94"/>
                  <a:gd name="T7" fmla="*/ 4 h 103"/>
                  <a:gd name="T8" fmla="*/ 57 w 94"/>
                  <a:gd name="T9" fmla="*/ 0 h 103"/>
                  <a:gd name="T10" fmla="*/ 76 w 94"/>
                  <a:gd name="T11" fmla="*/ 3 h 103"/>
                  <a:gd name="T12" fmla="*/ 87 w 94"/>
                  <a:gd name="T13" fmla="*/ 12 h 103"/>
                  <a:gd name="T14" fmla="*/ 92 w 94"/>
                  <a:gd name="T15" fmla="*/ 25 h 103"/>
                  <a:gd name="T16" fmla="*/ 94 w 94"/>
                  <a:gd name="T17" fmla="*/ 42 h 103"/>
                  <a:gd name="T18" fmla="*/ 94 w 94"/>
                  <a:gd name="T19" fmla="*/ 103 h 103"/>
                  <a:gd name="T20" fmla="*/ 67 w 94"/>
                  <a:gd name="T21" fmla="*/ 103 h 103"/>
                  <a:gd name="T22" fmla="*/ 67 w 94"/>
                  <a:gd name="T23" fmla="*/ 47 h 103"/>
                  <a:gd name="T24" fmla="*/ 63 w 94"/>
                  <a:gd name="T25" fmla="*/ 28 h 103"/>
                  <a:gd name="T26" fmla="*/ 49 w 94"/>
                  <a:gd name="T27" fmla="*/ 22 h 103"/>
                  <a:gd name="T28" fmla="*/ 33 w 94"/>
                  <a:gd name="T29" fmla="*/ 29 h 103"/>
                  <a:gd name="T30" fmla="*/ 28 w 94"/>
                  <a:gd name="T31" fmla="*/ 51 h 103"/>
                  <a:gd name="T32" fmla="*/ 28 w 94"/>
                  <a:gd name="T33" fmla="*/ 103 h 103"/>
                  <a:gd name="T34" fmla="*/ 0 w 94"/>
                  <a:gd name="T35" fmla="*/ 103 h 103"/>
                  <a:gd name="T36" fmla="*/ 0 w 94"/>
                  <a:gd name="T37" fmla="*/ 3 h 103"/>
                  <a:gd name="T38" fmla="*/ 26 w 94"/>
                  <a:gd name="T3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26" y="3"/>
                    </a:moveTo>
                    <a:cubicBezTo>
                      <a:pt x="26" y="17"/>
                      <a:pt x="26" y="17"/>
                      <a:pt x="26" y="17"/>
                    </a:cubicBezTo>
                    <a:cubicBezTo>
                      <a:pt x="27" y="17"/>
                      <a:pt x="27" y="17"/>
                      <a:pt x="27" y="17"/>
                    </a:cubicBezTo>
                    <a:cubicBezTo>
                      <a:pt x="30" y="11"/>
                      <a:pt x="35" y="7"/>
                      <a:pt x="40" y="4"/>
                    </a:cubicBezTo>
                    <a:cubicBezTo>
                      <a:pt x="46" y="2"/>
                      <a:pt x="52" y="0"/>
                      <a:pt x="57" y="0"/>
                    </a:cubicBezTo>
                    <a:cubicBezTo>
                      <a:pt x="65" y="0"/>
                      <a:pt x="71" y="1"/>
                      <a:pt x="76" y="3"/>
                    </a:cubicBezTo>
                    <a:cubicBezTo>
                      <a:pt x="80" y="5"/>
                      <a:pt x="84" y="8"/>
                      <a:pt x="87" y="12"/>
                    </a:cubicBezTo>
                    <a:cubicBezTo>
                      <a:pt x="89" y="15"/>
                      <a:pt x="91" y="20"/>
                      <a:pt x="92" y="25"/>
                    </a:cubicBezTo>
                    <a:cubicBezTo>
                      <a:pt x="94" y="30"/>
                      <a:pt x="94" y="35"/>
                      <a:pt x="94" y="42"/>
                    </a:cubicBezTo>
                    <a:cubicBezTo>
                      <a:pt x="94" y="103"/>
                      <a:pt x="94" y="103"/>
                      <a:pt x="94" y="103"/>
                    </a:cubicBezTo>
                    <a:cubicBezTo>
                      <a:pt x="67" y="103"/>
                      <a:pt x="67" y="103"/>
                      <a:pt x="67" y="103"/>
                    </a:cubicBezTo>
                    <a:cubicBezTo>
                      <a:pt x="67" y="47"/>
                      <a:pt x="67" y="47"/>
                      <a:pt x="67" y="47"/>
                    </a:cubicBezTo>
                    <a:cubicBezTo>
                      <a:pt x="67" y="38"/>
                      <a:pt x="65" y="32"/>
                      <a:pt x="63" y="28"/>
                    </a:cubicBezTo>
                    <a:cubicBezTo>
                      <a:pt x="60" y="24"/>
                      <a:pt x="56" y="22"/>
                      <a:pt x="49" y="22"/>
                    </a:cubicBezTo>
                    <a:cubicBezTo>
                      <a:pt x="41" y="22"/>
                      <a:pt x="36" y="24"/>
                      <a:pt x="33" y="29"/>
                    </a:cubicBezTo>
                    <a:cubicBezTo>
                      <a:pt x="29" y="33"/>
                      <a:pt x="28" y="41"/>
                      <a:pt x="28" y="51"/>
                    </a:cubicBezTo>
                    <a:cubicBezTo>
                      <a:pt x="28" y="103"/>
                      <a:pt x="28" y="103"/>
                      <a:pt x="28" y="103"/>
                    </a:cubicBezTo>
                    <a:cubicBezTo>
                      <a:pt x="0" y="103"/>
                      <a:pt x="0" y="103"/>
                      <a:pt x="0" y="103"/>
                    </a:cubicBezTo>
                    <a:cubicBezTo>
                      <a:pt x="0" y="3"/>
                      <a:pt x="0" y="3"/>
                      <a:pt x="0" y="3"/>
                    </a:cubicBez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1" name="Freeform 20"/>
              <p:cNvSpPr>
                <a:spLocks noEditPoints="1"/>
              </p:cNvSpPr>
              <p:nvPr/>
            </p:nvSpPr>
            <p:spPr bwMode="auto">
              <a:xfrm>
                <a:off x="1824038" y="4427538"/>
                <a:ext cx="128588" cy="136525"/>
              </a:xfrm>
              <a:custGeom>
                <a:avLst/>
                <a:gdLst>
                  <a:gd name="T0" fmla="*/ 34 w 100"/>
                  <a:gd name="T1" fmla="*/ 79 h 106"/>
                  <a:gd name="T2" fmla="*/ 52 w 100"/>
                  <a:gd name="T3" fmla="*/ 85 h 106"/>
                  <a:gd name="T4" fmla="*/ 67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4 w 100"/>
                  <a:gd name="T19" fmla="*/ 75 h 106"/>
                  <a:gd name="T20" fmla="*/ 0 w 100"/>
                  <a:gd name="T21" fmla="*/ 53 h 106"/>
                  <a:gd name="T22" fmla="*/ 4 w 100"/>
                  <a:gd name="T23" fmla="*/ 32 h 106"/>
                  <a:gd name="T24" fmla="*/ 14 w 100"/>
                  <a:gd name="T25" fmla="*/ 16 h 106"/>
                  <a:gd name="T26" fmla="*/ 31 w 100"/>
                  <a:gd name="T27" fmla="*/ 4 h 106"/>
                  <a:gd name="T28" fmla="*/ 51 w 100"/>
                  <a:gd name="T29" fmla="*/ 0 h 106"/>
                  <a:gd name="T30" fmla="*/ 74 w 100"/>
                  <a:gd name="T31" fmla="*/ 5 h 106"/>
                  <a:gd name="T32" fmla="*/ 89 w 100"/>
                  <a:gd name="T33" fmla="*/ 19 h 106"/>
                  <a:gd name="T34" fmla="*/ 98 w 100"/>
                  <a:gd name="T35" fmla="*/ 38 h 106"/>
                  <a:gd name="T36" fmla="*/ 100 w 100"/>
                  <a:gd name="T37" fmla="*/ 60 h 106"/>
                  <a:gd name="T38" fmla="*/ 28 w 100"/>
                  <a:gd name="T39" fmla="*/ 60 h 106"/>
                  <a:gd name="T40" fmla="*/ 34 w 100"/>
                  <a:gd name="T41" fmla="*/ 79 h 106"/>
                  <a:gd name="T42" fmla="*/ 66 w 100"/>
                  <a:gd name="T43" fmla="*/ 27 h 106"/>
                  <a:gd name="T44" fmla="*/ 51 w 100"/>
                  <a:gd name="T45" fmla="*/ 21 h 106"/>
                  <a:gd name="T46" fmla="*/ 40 w 100"/>
                  <a:gd name="T47" fmla="*/ 23 h 106"/>
                  <a:gd name="T48" fmla="*/ 33 w 100"/>
                  <a:gd name="T49" fmla="*/ 29 h 106"/>
                  <a:gd name="T50" fmla="*/ 29 w 100"/>
                  <a:gd name="T51" fmla="*/ 36 h 106"/>
                  <a:gd name="T52" fmla="*/ 28 w 100"/>
                  <a:gd name="T53" fmla="*/ 42 h 106"/>
                  <a:gd name="T54" fmla="*/ 72 w 100"/>
                  <a:gd name="T55" fmla="*/ 42 h 106"/>
                  <a:gd name="T56" fmla="*/ 66 w 100"/>
                  <a:gd name="T57" fmla="*/ 2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8" y="93"/>
                      <a:pt x="80" y="98"/>
                    </a:cubicBezTo>
                    <a:cubicBezTo>
                      <a:pt x="72" y="103"/>
                      <a:pt x="63" y="106"/>
                      <a:pt x="51" y="106"/>
                    </a:cubicBezTo>
                    <a:cubicBezTo>
                      <a:pt x="43" y="106"/>
                      <a:pt x="36" y="104"/>
                      <a:pt x="30" y="102"/>
                    </a:cubicBezTo>
                    <a:cubicBezTo>
                      <a:pt x="24" y="99"/>
                      <a:pt x="18" y="96"/>
                      <a:pt x="14" y="91"/>
                    </a:cubicBezTo>
                    <a:cubicBezTo>
                      <a:pt x="10" y="87"/>
                      <a:pt x="6" y="81"/>
                      <a:pt x="4" y="75"/>
                    </a:cubicBezTo>
                    <a:cubicBezTo>
                      <a:pt x="1" y="68"/>
                      <a:pt x="0" y="61"/>
                      <a:pt x="0" y="53"/>
                    </a:cubicBezTo>
                    <a:cubicBezTo>
                      <a:pt x="0" y="46"/>
                      <a:pt x="1" y="39"/>
                      <a:pt x="4" y="32"/>
                    </a:cubicBezTo>
                    <a:cubicBezTo>
                      <a:pt x="6" y="26"/>
                      <a:pt x="10" y="20"/>
                      <a:pt x="14" y="16"/>
                    </a:cubicBezTo>
                    <a:cubicBezTo>
                      <a:pt x="19" y="11"/>
                      <a:pt x="24" y="7"/>
                      <a:pt x="31" y="4"/>
                    </a:cubicBezTo>
                    <a:cubicBezTo>
                      <a:pt x="37" y="2"/>
                      <a:pt x="44" y="0"/>
                      <a:pt x="51" y="0"/>
                    </a:cubicBezTo>
                    <a:cubicBezTo>
                      <a:pt x="60" y="0"/>
                      <a:pt x="67" y="2"/>
                      <a:pt x="74" y="5"/>
                    </a:cubicBezTo>
                    <a:cubicBezTo>
                      <a:pt x="80" y="9"/>
                      <a:pt x="85" y="13"/>
                      <a:pt x="89" y="19"/>
                    </a:cubicBezTo>
                    <a:cubicBezTo>
                      <a:pt x="93" y="24"/>
                      <a:pt x="96" y="30"/>
                      <a:pt x="98" y="38"/>
                    </a:cubicBezTo>
                    <a:cubicBezTo>
                      <a:pt x="100" y="45"/>
                      <a:pt x="100" y="52"/>
                      <a:pt x="100" y="60"/>
                    </a:cubicBezTo>
                    <a:cubicBezTo>
                      <a:pt x="28" y="60"/>
                      <a:pt x="28" y="60"/>
                      <a:pt x="28" y="60"/>
                    </a:cubicBezTo>
                    <a:cubicBezTo>
                      <a:pt x="28" y="69"/>
                      <a:pt x="30" y="75"/>
                      <a:pt x="34" y="79"/>
                    </a:cubicBezTo>
                    <a:close/>
                    <a:moveTo>
                      <a:pt x="66" y="27"/>
                    </a:moveTo>
                    <a:cubicBezTo>
                      <a:pt x="62" y="23"/>
                      <a:pt x="57" y="21"/>
                      <a:pt x="51" y="21"/>
                    </a:cubicBezTo>
                    <a:cubicBezTo>
                      <a:pt x="46" y="21"/>
                      <a:pt x="43" y="22"/>
                      <a:pt x="40" y="23"/>
                    </a:cubicBezTo>
                    <a:cubicBezTo>
                      <a:pt x="37" y="25"/>
                      <a:pt x="34" y="27"/>
                      <a:pt x="33" y="29"/>
                    </a:cubicBezTo>
                    <a:cubicBezTo>
                      <a:pt x="31" y="31"/>
                      <a:pt x="30" y="33"/>
                      <a:pt x="29" y="36"/>
                    </a:cubicBezTo>
                    <a:cubicBezTo>
                      <a:pt x="28" y="38"/>
                      <a:pt x="28" y="40"/>
                      <a:pt x="28" y="42"/>
                    </a:cubicBezTo>
                    <a:cubicBezTo>
                      <a:pt x="72" y="42"/>
                      <a:pt x="72" y="42"/>
                      <a:pt x="72" y="42"/>
                    </a:cubicBezTo>
                    <a:cubicBezTo>
                      <a:pt x="71" y="35"/>
                      <a:pt x="69" y="30"/>
                      <a:pt x="6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2" name="Freeform 21"/>
              <p:cNvSpPr>
                <a:spLocks/>
              </p:cNvSpPr>
              <p:nvPr/>
            </p:nvSpPr>
            <p:spPr bwMode="auto">
              <a:xfrm>
                <a:off x="1963738" y="4427538"/>
                <a:ext cx="119063" cy="136525"/>
              </a:xfrm>
              <a:custGeom>
                <a:avLst/>
                <a:gdLst>
                  <a:gd name="T0" fmla="*/ 28 w 93"/>
                  <a:gd name="T1" fmla="*/ 78 h 106"/>
                  <a:gd name="T2" fmla="*/ 33 w 93"/>
                  <a:gd name="T3" fmla="*/ 84 h 106"/>
                  <a:gd name="T4" fmla="*/ 39 w 93"/>
                  <a:gd name="T5" fmla="*/ 87 h 106"/>
                  <a:gd name="T6" fmla="*/ 47 w 93"/>
                  <a:gd name="T7" fmla="*/ 88 h 106"/>
                  <a:gd name="T8" fmla="*/ 53 w 93"/>
                  <a:gd name="T9" fmla="*/ 87 h 106"/>
                  <a:gd name="T10" fmla="*/ 59 w 93"/>
                  <a:gd name="T11" fmla="*/ 85 h 106"/>
                  <a:gd name="T12" fmla="*/ 63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4 h 106"/>
                  <a:gd name="T26" fmla="*/ 2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2 w 93"/>
                  <a:gd name="T59" fmla="*/ 34 h 106"/>
                  <a:gd name="T60" fmla="*/ 40 w 93"/>
                  <a:gd name="T61" fmla="*/ 38 h 106"/>
                  <a:gd name="T62" fmla="*/ 49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4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39" y="87"/>
                    </a:cubicBezTo>
                    <a:cubicBezTo>
                      <a:pt x="42" y="87"/>
                      <a:pt x="44" y="88"/>
                      <a:pt x="47" y="88"/>
                    </a:cubicBezTo>
                    <a:cubicBezTo>
                      <a:pt x="49" y="88"/>
                      <a:pt x="51" y="87"/>
                      <a:pt x="53" y="87"/>
                    </a:cubicBezTo>
                    <a:cubicBezTo>
                      <a:pt x="55" y="86"/>
                      <a:pt x="57" y="86"/>
                      <a:pt x="59" y="85"/>
                    </a:cubicBezTo>
                    <a:cubicBezTo>
                      <a:pt x="61" y="84"/>
                      <a:pt x="62" y="82"/>
                      <a:pt x="63" y="81"/>
                    </a:cubicBezTo>
                    <a:cubicBezTo>
                      <a:pt x="65" y="79"/>
                      <a:pt x="65" y="77"/>
                      <a:pt x="65" y="75"/>
                    </a:cubicBezTo>
                    <a:cubicBezTo>
                      <a:pt x="65" y="71"/>
                      <a:pt x="62" y="68"/>
                      <a:pt x="57" y="65"/>
                    </a:cubicBezTo>
                    <a:cubicBezTo>
                      <a:pt x="51" y="63"/>
                      <a:pt x="44" y="61"/>
                      <a:pt x="34" y="59"/>
                    </a:cubicBezTo>
                    <a:cubicBezTo>
                      <a:pt x="30" y="58"/>
                      <a:pt x="26" y="57"/>
                      <a:pt x="22" y="56"/>
                    </a:cubicBezTo>
                    <a:cubicBezTo>
                      <a:pt x="18" y="55"/>
                      <a:pt x="15" y="53"/>
                      <a:pt x="12" y="51"/>
                    </a:cubicBezTo>
                    <a:cubicBezTo>
                      <a:pt x="9" y="49"/>
                      <a:pt x="7" y="47"/>
                      <a:pt x="5" y="44"/>
                    </a:cubicBezTo>
                    <a:cubicBezTo>
                      <a:pt x="3" y="41"/>
                      <a:pt x="2" y="37"/>
                      <a:pt x="2" y="33"/>
                    </a:cubicBezTo>
                    <a:cubicBezTo>
                      <a:pt x="2" y="26"/>
                      <a:pt x="3" y="21"/>
                      <a:pt x="6" y="17"/>
                    </a:cubicBezTo>
                    <a:cubicBezTo>
                      <a:pt x="9" y="13"/>
                      <a:pt x="12" y="9"/>
                      <a:pt x="16" y="7"/>
                    </a:cubicBezTo>
                    <a:cubicBezTo>
                      <a:pt x="20" y="4"/>
                      <a:pt x="25" y="3"/>
                      <a:pt x="30" y="2"/>
                    </a:cubicBezTo>
                    <a:cubicBezTo>
                      <a:pt x="35" y="1"/>
                      <a:pt x="40" y="0"/>
                      <a:pt x="46" y="0"/>
                    </a:cubicBezTo>
                    <a:cubicBezTo>
                      <a:pt x="51" y="0"/>
                      <a:pt x="56" y="1"/>
                      <a:pt x="62" y="2"/>
                    </a:cubicBezTo>
                    <a:cubicBezTo>
                      <a:pt x="67" y="3"/>
                      <a:pt x="71" y="5"/>
                      <a:pt x="75" y="7"/>
                    </a:cubicBezTo>
                    <a:cubicBezTo>
                      <a:pt x="79" y="10"/>
                      <a:pt x="83" y="13"/>
                      <a:pt x="85" y="17"/>
                    </a:cubicBezTo>
                    <a:cubicBezTo>
                      <a:pt x="88" y="21"/>
                      <a:pt x="89" y="26"/>
                      <a:pt x="90" y="32"/>
                    </a:cubicBezTo>
                    <a:cubicBezTo>
                      <a:pt x="64" y="32"/>
                      <a:pt x="64" y="32"/>
                      <a:pt x="64" y="32"/>
                    </a:cubicBezTo>
                    <a:cubicBezTo>
                      <a:pt x="63" y="27"/>
                      <a:pt x="61" y="23"/>
                      <a:pt x="58" y="22"/>
                    </a:cubicBezTo>
                    <a:cubicBezTo>
                      <a:pt x="54" y="20"/>
                      <a:pt x="50" y="19"/>
                      <a:pt x="45" y="19"/>
                    </a:cubicBezTo>
                    <a:cubicBezTo>
                      <a:pt x="43" y="19"/>
                      <a:pt x="42" y="19"/>
                      <a:pt x="40" y="19"/>
                    </a:cubicBezTo>
                    <a:cubicBezTo>
                      <a:pt x="38" y="19"/>
                      <a:pt x="37" y="20"/>
                      <a:pt x="35" y="20"/>
                    </a:cubicBezTo>
                    <a:cubicBezTo>
                      <a:pt x="34" y="21"/>
                      <a:pt x="32" y="22"/>
                      <a:pt x="31" y="23"/>
                    </a:cubicBezTo>
                    <a:cubicBezTo>
                      <a:pt x="30" y="24"/>
                      <a:pt x="30" y="26"/>
                      <a:pt x="30" y="28"/>
                    </a:cubicBezTo>
                    <a:cubicBezTo>
                      <a:pt x="30" y="31"/>
                      <a:pt x="31" y="33"/>
                      <a:pt x="32" y="34"/>
                    </a:cubicBezTo>
                    <a:cubicBezTo>
                      <a:pt x="34" y="36"/>
                      <a:pt x="37" y="37"/>
                      <a:pt x="40" y="38"/>
                    </a:cubicBezTo>
                    <a:cubicBezTo>
                      <a:pt x="42" y="39"/>
                      <a:pt x="46" y="40"/>
                      <a:pt x="49" y="40"/>
                    </a:cubicBezTo>
                    <a:cubicBezTo>
                      <a:pt x="53" y="41"/>
                      <a:pt x="57" y="42"/>
                      <a:pt x="61" y="43"/>
                    </a:cubicBezTo>
                    <a:cubicBezTo>
                      <a:pt x="65" y="44"/>
                      <a:pt x="69" y="45"/>
                      <a:pt x="73" y="46"/>
                    </a:cubicBezTo>
                    <a:cubicBezTo>
                      <a:pt x="76" y="48"/>
                      <a:pt x="80" y="49"/>
                      <a:pt x="83" y="51"/>
                    </a:cubicBezTo>
                    <a:cubicBezTo>
                      <a:pt x="86" y="54"/>
                      <a:pt x="88" y="56"/>
                      <a:pt x="90" y="59"/>
                    </a:cubicBezTo>
                    <a:cubicBezTo>
                      <a:pt x="92" y="63"/>
                      <a:pt x="93" y="66"/>
                      <a:pt x="93" y="71"/>
                    </a:cubicBezTo>
                    <a:cubicBezTo>
                      <a:pt x="93" y="78"/>
                      <a:pt x="91" y="83"/>
                      <a:pt x="89" y="88"/>
                    </a:cubicBezTo>
                    <a:cubicBezTo>
                      <a:pt x="86" y="92"/>
                      <a:pt x="83" y="96"/>
                      <a:pt x="78" y="98"/>
                    </a:cubicBezTo>
                    <a:cubicBezTo>
                      <a:pt x="74" y="101"/>
                      <a:pt x="69" y="103"/>
                      <a:pt x="64" y="104"/>
                    </a:cubicBezTo>
                    <a:cubicBezTo>
                      <a:pt x="58" y="105"/>
                      <a:pt x="53" y="106"/>
                      <a:pt x="47" y="106"/>
                    </a:cubicBezTo>
                    <a:cubicBezTo>
                      <a:pt x="41" y="106"/>
                      <a:pt x="35" y="105"/>
                      <a:pt x="30" y="104"/>
                    </a:cubicBezTo>
                    <a:cubicBezTo>
                      <a:pt x="24" y="103"/>
                      <a:pt x="19" y="101"/>
                      <a:pt x="15" y="98"/>
                    </a:cubicBezTo>
                    <a:cubicBezTo>
                      <a:pt x="11" y="95"/>
                      <a:pt x="7" y="92"/>
                      <a:pt x="4" y="87"/>
                    </a:cubicBezTo>
                    <a:cubicBezTo>
                      <a:pt x="2" y="83"/>
                      <a:pt x="0" y="77"/>
                      <a:pt x="0" y="71"/>
                    </a:cubicBezTo>
                    <a:cubicBezTo>
                      <a:pt x="26" y="71"/>
                      <a:pt x="26" y="71"/>
                      <a:pt x="26" y="71"/>
                    </a:cubicBezTo>
                    <a:cubicBezTo>
                      <a:pt x="26" y="74"/>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3" name="Freeform 22"/>
              <p:cNvSpPr>
                <a:spLocks/>
              </p:cNvSpPr>
              <p:nvPr/>
            </p:nvSpPr>
            <p:spPr bwMode="auto">
              <a:xfrm>
                <a:off x="2093913" y="4427538"/>
                <a:ext cx="119063" cy="136525"/>
              </a:xfrm>
              <a:custGeom>
                <a:avLst/>
                <a:gdLst>
                  <a:gd name="T0" fmla="*/ 27 w 92"/>
                  <a:gd name="T1" fmla="*/ 78 h 106"/>
                  <a:gd name="T2" fmla="*/ 32 w 92"/>
                  <a:gd name="T3" fmla="*/ 84 h 106"/>
                  <a:gd name="T4" fmla="*/ 39 w 92"/>
                  <a:gd name="T5" fmla="*/ 87 h 106"/>
                  <a:gd name="T6" fmla="*/ 47 w 92"/>
                  <a:gd name="T7" fmla="*/ 88 h 106"/>
                  <a:gd name="T8" fmla="*/ 53 w 92"/>
                  <a:gd name="T9" fmla="*/ 87 h 106"/>
                  <a:gd name="T10" fmla="*/ 59 w 92"/>
                  <a:gd name="T11" fmla="*/ 85 h 106"/>
                  <a:gd name="T12" fmla="*/ 63 w 92"/>
                  <a:gd name="T13" fmla="*/ 81 h 106"/>
                  <a:gd name="T14" fmla="*/ 65 w 92"/>
                  <a:gd name="T15" fmla="*/ 75 h 106"/>
                  <a:gd name="T16" fmla="*/ 57 w 92"/>
                  <a:gd name="T17" fmla="*/ 65 h 106"/>
                  <a:gd name="T18" fmla="*/ 34 w 92"/>
                  <a:gd name="T19" fmla="*/ 59 h 106"/>
                  <a:gd name="T20" fmla="*/ 22 w 92"/>
                  <a:gd name="T21" fmla="*/ 56 h 106"/>
                  <a:gd name="T22" fmla="*/ 12 w 92"/>
                  <a:gd name="T23" fmla="*/ 51 h 106"/>
                  <a:gd name="T24" fmla="*/ 5 w 92"/>
                  <a:gd name="T25" fmla="*/ 44 h 106"/>
                  <a:gd name="T26" fmla="*/ 2 w 92"/>
                  <a:gd name="T27" fmla="*/ 33 h 106"/>
                  <a:gd name="T28" fmla="*/ 6 w 92"/>
                  <a:gd name="T29" fmla="*/ 17 h 106"/>
                  <a:gd name="T30" fmla="*/ 16 w 92"/>
                  <a:gd name="T31" fmla="*/ 7 h 106"/>
                  <a:gd name="T32" fmla="*/ 30 w 92"/>
                  <a:gd name="T33" fmla="*/ 2 h 106"/>
                  <a:gd name="T34" fmla="*/ 45 w 92"/>
                  <a:gd name="T35" fmla="*/ 0 h 106"/>
                  <a:gd name="T36" fmla="*/ 61 w 92"/>
                  <a:gd name="T37" fmla="*/ 2 h 106"/>
                  <a:gd name="T38" fmla="*/ 75 w 92"/>
                  <a:gd name="T39" fmla="*/ 7 h 106"/>
                  <a:gd name="T40" fmla="*/ 85 w 92"/>
                  <a:gd name="T41" fmla="*/ 17 h 106"/>
                  <a:gd name="T42" fmla="*/ 90 w 92"/>
                  <a:gd name="T43" fmla="*/ 32 h 106"/>
                  <a:gd name="T44" fmla="*/ 63 w 92"/>
                  <a:gd name="T45" fmla="*/ 32 h 106"/>
                  <a:gd name="T46" fmla="*/ 57 w 92"/>
                  <a:gd name="T47" fmla="*/ 22 h 106"/>
                  <a:gd name="T48" fmla="*/ 45 w 92"/>
                  <a:gd name="T49" fmla="*/ 19 h 106"/>
                  <a:gd name="T50" fmla="*/ 40 w 92"/>
                  <a:gd name="T51" fmla="*/ 19 h 106"/>
                  <a:gd name="T52" fmla="*/ 35 w 92"/>
                  <a:gd name="T53" fmla="*/ 20 h 106"/>
                  <a:gd name="T54" fmla="*/ 31 w 92"/>
                  <a:gd name="T55" fmla="*/ 23 h 106"/>
                  <a:gd name="T56" fmla="*/ 29 w 92"/>
                  <a:gd name="T57" fmla="*/ 28 h 106"/>
                  <a:gd name="T58" fmla="*/ 32 w 92"/>
                  <a:gd name="T59" fmla="*/ 34 h 106"/>
                  <a:gd name="T60" fmla="*/ 39 w 92"/>
                  <a:gd name="T61" fmla="*/ 38 h 106"/>
                  <a:gd name="T62" fmla="*/ 49 w 92"/>
                  <a:gd name="T63" fmla="*/ 40 h 106"/>
                  <a:gd name="T64" fmla="*/ 61 w 92"/>
                  <a:gd name="T65" fmla="*/ 43 h 106"/>
                  <a:gd name="T66" fmla="*/ 72 w 92"/>
                  <a:gd name="T67" fmla="*/ 46 h 106"/>
                  <a:gd name="T68" fmla="*/ 82 w 92"/>
                  <a:gd name="T69" fmla="*/ 51 h 106"/>
                  <a:gd name="T70" fmla="*/ 90 w 92"/>
                  <a:gd name="T71" fmla="*/ 59 h 106"/>
                  <a:gd name="T72" fmla="*/ 92 w 92"/>
                  <a:gd name="T73" fmla="*/ 71 h 106"/>
                  <a:gd name="T74" fmla="*/ 88 w 92"/>
                  <a:gd name="T75" fmla="*/ 88 h 106"/>
                  <a:gd name="T76" fmla="*/ 78 w 92"/>
                  <a:gd name="T77" fmla="*/ 98 h 106"/>
                  <a:gd name="T78" fmla="*/ 63 w 92"/>
                  <a:gd name="T79" fmla="*/ 104 h 106"/>
                  <a:gd name="T80" fmla="*/ 47 w 92"/>
                  <a:gd name="T81" fmla="*/ 106 h 106"/>
                  <a:gd name="T82" fmla="*/ 30 w 92"/>
                  <a:gd name="T83" fmla="*/ 104 h 106"/>
                  <a:gd name="T84" fmla="*/ 15 w 92"/>
                  <a:gd name="T85" fmla="*/ 98 h 106"/>
                  <a:gd name="T86" fmla="*/ 4 w 92"/>
                  <a:gd name="T87" fmla="*/ 87 h 106"/>
                  <a:gd name="T88" fmla="*/ 0 w 92"/>
                  <a:gd name="T89" fmla="*/ 71 h 106"/>
                  <a:gd name="T90" fmla="*/ 26 w 92"/>
                  <a:gd name="T91" fmla="*/ 71 h 106"/>
                  <a:gd name="T92" fmla="*/ 27 w 92"/>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06">
                    <a:moveTo>
                      <a:pt x="27" y="78"/>
                    </a:moveTo>
                    <a:cubicBezTo>
                      <a:pt x="29" y="80"/>
                      <a:pt x="30" y="82"/>
                      <a:pt x="32" y="84"/>
                    </a:cubicBezTo>
                    <a:cubicBezTo>
                      <a:pt x="34" y="85"/>
                      <a:pt x="36" y="86"/>
                      <a:pt x="39" y="87"/>
                    </a:cubicBezTo>
                    <a:cubicBezTo>
                      <a:pt x="41" y="87"/>
                      <a:pt x="44" y="88"/>
                      <a:pt x="47" y="88"/>
                    </a:cubicBezTo>
                    <a:cubicBezTo>
                      <a:pt x="49" y="88"/>
                      <a:pt x="51" y="87"/>
                      <a:pt x="53" y="87"/>
                    </a:cubicBezTo>
                    <a:cubicBezTo>
                      <a:pt x="55" y="86"/>
                      <a:pt x="57" y="86"/>
                      <a:pt x="59" y="85"/>
                    </a:cubicBezTo>
                    <a:cubicBezTo>
                      <a:pt x="60" y="84"/>
                      <a:pt x="62" y="82"/>
                      <a:pt x="63" y="81"/>
                    </a:cubicBezTo>
                    <a:cubicBezTo>
                      <a:pt x="64" y="79"/>
                      <a:pt x="65" y="77"/>
                      <a:pt x="65" y="75"/>
                    </a:cubicBezTo>
                    <a:cubicBezTo>
                      <a:pt x="65" y="71"/>
                      <a:pt x="62" y="68"/>
                      <a:pt x="57" y="65"/>
                    </a:cubicBezTo>
                    <a:cubicBezTo>
                      <a:pt x="51" y="63"/>
                      <a:pt x="43" y="61"/>
                      <a:pt x="34" y="59"/>
                    </a:cubicBezTo>
                    <a:cubicBezTo>
                      <a:pt x="30" y="58"/>
                      <a:pt x="26" y="57"/>
                      <a:pt x="22" y="56"/>
                    </a:cubicBezTo>
                    <a:cubicBezTo>
                      <a:pt x="18" y="55"/>
                      <a:pt x="15" y="53"/>
                      <a:pt x="12" y="51"/>
                    </a:cubicBezTo>
                    <a:cubicBezTo>
                      <a:pt x="9" y="49"/>
                      <a:pt x="6" y="47"/>
                      <a:pt x="5" y="44"/>
                    </a:cubicBezTo>
                    <a:cubicBezTo>
                      <a:pt x="3" y="41"/>
                      <a:pt x="2" y="37"/>
                      <a:pt x="2" y="33"/>
                    </a:cubicBezTo>
                    <a:cubicBezTo>
                      <a:pt x="2" y="26"/>
                      <a:pt x="3" y="21"/>
                      <a:pt x="6" y="17"/>
                    </a:cubicBezTo>
                    <a:cubicBezTo>
                      <a:pt x="8" y="13"/>
                      <a:pt x="11" y="9"/>
                      <a:pt x="16" y="7"/>
                    </a:cubicBezTo>
                    <a:cubicBezTo>
                      <a:pt x="20" y="4"/>
                      <a:pt x="24" y="3"/>
                      <a:pt x="30" y="2"/>
                    </a:cubicBezTo>
                    <a:cubicBezTo>
                      <a:pt x="35" y="1"/>
                      <a:pt x="40" y="0"/>
                      <a:pt x="45" y="0"/>
                    </a:cubicBezTo>
                    <a:cubicBezTo>
                      <a:pt x="51" y="0"/>
                      <a:pt x="56" y="1"/>
                      <a:pt x="61" y="2"/>
                    </a:cubicBezTo>
                    <a:cubicBezTo>
                      <a:pt x="66" y="3"/>
                      <a:pt x="71" y="5"/>
                      <a:pt x="75" y="7"/>
                    </a:cubicBezTo>
                    <a:cubicBezTo>
                      <a:pt x="79" y="10"/>
                      <a:pt x="82" y="13"/>
                      <a:pt x="85" y="17"/>
                    </a:cubicBezTo>
                    <a:cubicBezTo>
                      <a:pt x="87" y="21"/>
                      <a:pt x="89" y="26"/>
                      <a:pt x="90" y="32"/>
                    </a:cubicBezTo>
                    <a:cubicBezTo>
                      <a:pt x="63" y="32"/>
                      <a:pt x="63" y="32"/>
                      <a:pt x="63" y="32"/>
                    </a:cubicBezTo>
                    <a:cubicBezTo>
                      <a:pt x="63" y="27"/>
                      <a:pt x="61" y="23"/>
                      <a:pt x="57" y="22"/>
                    </a:cubicBezTo>
                    <a:cubicBezTo>
                      <a:pt x="54" y="20"/>
                      <a:pt x="50" y="19"/>
                      <a:pt x="45" y="19"/>
                    </a:cubicBezTo>
                    <a:cubicBezTo>
                      <a:pt x="43" y="19"/>
                      <a:pt x="41" y="19"/>
                      <a:pt x="40" y="19"/>
                    </a:cubicBezTo>
                    <a:cubicBezTo>
                      <a:pt x="38" y="19"/>
                      <a:pt x="36" y="20"/>
                      <a:pt x="35" y="20"/>
                    </a:cubicBezTo>
                    <a:cubicBezTo>
                      <a:pt x="33" y="21"/>
                      <a:pt x="32" y="22"/>
                      <a:pt x="31" y="23"/>
                    </a:cubicBezTo>
                    <a:cubicBezTo>
                      <a:pt x="30" y="24"/>
                      <a:pt x="29" y="26"/>
                      <a:pt x="29" y="28"/>
                    </a:cubicBezTo>
                    <a:cubicBezTo>
                      <a:pt x="29" y="31"/>
                      <a:pt x="30" y="33"/>
                      <a:pt x="32" y="34"/>
                    </a:cubicBezTo>
                    <a:cubicBezTo>
                      <a:pt x="34" y="36"/>
                      <a:pt x="36" y="37"/>
                      <a:pt x="39" y="38"/>
                    </a:cubicBezTo>
                    <a:cubicBezTo>
                      <a:pt x="42" y="39"/>
                      <a:pt x="45" y="40"/>
                      <a:pt x="49" y="40"/>
                    </a:cubicBezTo>
                    <a:cubicBezTo>
                      <a:pt x="53" y="41"/>
                      <a:pt x="57" y="42"/>
                      <a:pt x="61" y="43"/>
                    </a:cubicBezTo>
                    <a:cubicBezTo>
                      <a:pt x="65" y="44"/>
                      <a:pt x="68" y="45"/>
                      <a:pt x="72" y="46"/>
                    </a:cubicBezTo>
                    <a:cubicBezTo>
                      <a:pt x="76" y="48"/>
                      <a:pt x="79" y="49"/>
                      <a:pt x="82" y="51"/>
                    </a:cubicBezTo>
                    <a:cubicBezTo>
                      <a:pt x="85" y="54"/>
                      <a:pt x="88" y="56"/>
                      <a:pt x="90" y="59"/>
                    </a:cubicBezTo>
                    <a:cubicBezTo>
                      <a:pt x="91" y="63"/>
                      <a:pt x="92" y="66"/>
                      <a:pt x="92" y="71"/>
                    </a:cubicBezTo>
                    <a:cubicBezTo>
                      <a:pt x="92" y="78"/>
                      <a:pt x="91" y="83"/>
                      <a:pt x="88" y="88"/>
                    </a:cubicBezTo>
                    <a:cubicBezTo>
                      <a:pt x="86" y="92"/>
                      <a:pt x="82" y="96"/>
                      <a:pt x="78" y="98"/>
                    </a:cubicBezTo>
                    <a:cubicBezTo>
                      <a:pt x="74" y="101"/>
                      <a:pt x="69" y="103"/>
                      <a:pt x="63" y="104"/>
                    </a:cubicBezTo>
                    <a:cubicBezTo>
                      <a:pt x="58" y="105"/>
                      <a:pt x="52" y="106"/>
                      <a:pt x="47" y="106"/>
                    </a:cubicBezTo>
                    <a:cubicBezTo>
                      <a:pt x="41" y="106"/>
                      <a:pt x="35" y="105"/>
                      <a:pt x="30" y="104"/>
                    </a:cubicBezTo>
                    <a:cubicBezTo>
                      <a:pt x="24" y="103"/>
                      <a:pt x="19" y="101"/>
                      <a:pt x="15" y="98"/>
                    </a:cubicBezTo>
                    <a:cubicBezTo>
                      <a:pt x="10" y="95"/>
                      <a:pt x="7" y="92"/>
                      <a:pt x="4" y="87"/>
                    </a:cubicBezTo>
                    <a:cubicBezTo>
                      <a:pt x="1" y="83"/>
                      <a:pt x="0" y="77"/>
                      <a:pt x="0" y="71"/>
                    </a:cubicBezTo>
                    <a:cubicBezTo>
                      <a:pt x="26" y="71"/>
                      <a:pt x="26" y="71"/>
                      <a:pt x="26" y="71"/>
                    </a:cubicBezTo>
                    <a:cubicBezTo>
                      <a:pt x="26" y="74"/>
                      <a:pt x="26" y="76"/>
                      <a:pt x="2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4" name="Freeform 23"/>
              <p:cNvSpPr>
                <a:spLocks/>
              </p:cNvSpPr>
              <p:nvPr/>
            </p:nvSpPr>
            <p:spPr bwMode="auto">
              <a:xfrm>
                <a:off x="1173163" y="4627563"/>
                <a:ext cx="150813" cy="187325"/>
              </a:xfrm>
              <a:custGeom>
                <a:avLst/>
                <a:gdLst>
                  <a:gd name="T0" fmla="*/ 32 w 117"/>
                  <a:gd name="T1" fmla="*/ 108 h 145"/>
                  <a:gd name="T2" fmla="*/ 39 w 117"/>
                  <a:gd name="T3" fmla="*/ 116 h 145"/>
                  <a:gd name="T4" fmla="*/ 49 w 117"/>
                  <a:gd name="T5" fmla="*/ 120 h 145"/>
                  <a:gd name="T6" fmla="*/ 60 w 117"/>
                  <a:gd name="T7" fmla="*/ 122 h 145"/>
                  <a:gd name="T8" fmla="*/ 69 w 117"/>
                  <a:gd name="T9" fmla="*/ 121 h 145"/>
                  <a:gd name="T10" fmla="*/ 78 w 117"/>
                  <a:gd name="T11" fmla="*/ 118 h 145"/>
                  <a:gd name="T12" fmla="*/ 84 w 117"/>
                  <a:gd name="T13" fmla="*/ 113 h 145"/>
                  <a:gd name="T14" fmla="*/ 87 w 117"/>
                  <a:gd name="T15" fmla="*/ 104 h 145"/>
                  <a:gd name="T16" fmla="*/ 84 w 117"/>
                  <a:gd name="T17" fmla="*/ 95 h 145"/>
                  <a:gd name="T18" fmla="*/ 74 w 117"/>
                  <a:gd name="T19" fmla="*/ 90 h 145"/>
                  <a:gd name="T20" fmla="*/ 61 w 117"/>
                  <a:gd name="T21" fmla="*/ 85 h 145"/>
                  <a:gd name="T22" fmla="*/ 46 w 117"/>
                  <a:gd name="T23" fmla="*/ 82 h 145"/>
                  <a:gd name="T24" fmla="*/ 31 w 117"/>
                  <a:gd name="T25" fmla="*/ 77 h 145"/>
                  <a:gd name="T26" fmla="*/ 18 w 117"/>
                  <a:gd name="T27" fmla="*/ 70 h 145"/>
                  <a:gd name="T28" fmla="*/ 8 w 117"/>
                  <a:gd name="T29" fmla="*/ 58 h 145"/>
                  <a:gd name="T30" fmla="*/ 5 w 117"/>
                  <a:gd name="T31" fmla="*/ 42 h 145"/>
                  <a:gd name="T32" fmla="*/ 9 w 117"/>
                  <a:gd name="T33" fmla="*/ 24 h 145"/>
                  <a:gd name="T34" fmla="*/ 21 w 117"/>
                  <a:gd name="T35" fmla="*/ 11 h 145"/>
                  <a:gd name="T36" fmla="*/ 38 w 117"/>
                  <a:gd name="T37" fmla="*/ 3 h 145"/>
                  <a:gd name="T38" fmla="*/ 56 w 117"/>
                  <a:gd name="T39" fmla="*/ 0 h 145"/>
                  <a:gd name="T40" fmla="*/ 77 w 117"/>
                  <a:gd name="T41" fmla="*/ 3 h 145"/>
                  <a:gd name="T42" fmla="*/ 95 w 117"/>
                  <a:gd name="T43" fmla="*/ 11 h 145"/>
                  <a:gd name="T44" fmla="*/ 107 w 117"/>
                  <a:gd name="T45" fmla="*/ 25 h 145"/>
                  <a:gd name="T46" fmla="*/ 112 w 117"/>
                  <a:gd name="T47" fmla="*/ 45 h 145"/>
                  <a:gd name="T48" fmla="*/ 82 w 117"/>
                  <a:gd name="T49" fmla="*/ 45 h 145"/>
                  <a:gd name="T50" fmla="*/ 80 w 117"/>
                  <a:gd name="T51" fmla="*/ 35 h 145"/>
                  <a:gd name="T52" fmla="*/ 74 w 117"/>
                  <a:gd name="T53" fmla="*/ 28 h 145"/>
                  <a:gd name="T54" fmla="*/ 65 w 117"/>
                  <a:gd name="T55" fmla="*/ 25 h 145"/>
                  <a:gd name="T56" fmla="*/ 55 w 117"/>
                  <a:gd name="T57" fmla="*/ 24 h 145"/>
                  <a:gd name="T58" fmla="*/ 48 w 117"/>
                  <a:gd name="T59" fmla="*/ 25 h 145"/>
                  <a:gd name="T60" fmla="*/ 41 w 117"/>
                  <a:gd name="T61" fmla="*/ 28 h 145"/>
                  <a:gd name="T62" fmla="*/ 36 w 117"/>
                  <a:gd name="T63" fmla="*/ 32 h 145"/>
                  <a:gd name="T64" fmla="*/ 34 w 117"/>
                  <a:gd name="T65" fmla="*/ 40 h 145"/>
                  <a:gd name="T66" fmla="*/ 36 w 117"/>
                  <a:gd name="T67" fmla="*/ 46 h 145"/>
                  <a:gd name="T68" fmla="*/ 42 w 117"/>
                  <a:gd name="T69" fmla="*/ 51 h 145"/>
                  <a:gd name="T70" fmla="*/ 54 w 117"/>
                  <a:gd name="T71" fmla="*/ 55 h 145"/>
                  <a:gd name="T72" fmla="*/ 75 w 117"/>
                  <a:gd name="T73" fmla="*/ 61 h 145"/>
                  <a:gd name="T74" fmla="*/ 86 w 117"/>
                  <a:gd name="T75" fmla="*/ 63 h 145"/>
                  <a:gd name="T76" fmla="*/ 100 w 117"/>
                  <a:gd name="T77" fmla="*/ 70 h 145"/>
                  <a:gd name="T78" fmla="*/ 112 w 117"/>
                  <a:gd name="T79" fmla="*/ 82 h 145"/>
                  <a:gd name="T80" fmla="*/ 117 w 117"/>
                  <a:gd name="T81" fmla="*/ 101 h 145"/>
                  <a:gd name="T82" fmla="*/ 113 w 117"/>
                  <a:gd name="T83" fmla="*/ 119 h 145"/>
                  <a:gd name="T84" fmla="*/ 102 w 117"/>
                  <a:gd name="T85" fmla="*/ 133 h 145"/>
                  <a:gd name="T86" fmla="*/ 84 w 117"/>
                  <a:gd name="T87" fmla="*/ 142 h 145"/>
                  <a:gd name="T88" fmla="*/ 59 w 117"/>
                  <a:gd name="T89" fmla="*/ 145 h 145"/>
                  <a:gd name="T90" fmla="*/ 37 w 117"/>
                  <a:gd name="T91" fmla="*/ 142 h 145"/>
                  <a:gd name="T92" fmla="*/ 18 w 117"/>
                  <a:gd name="T93" fmla="*/ 134 h 145"/>
                  <a:gd name="T94" fmla="*/ 5 w 117"/>
                  <a:gd name="T95" fmla="*/ 118 h 145"/>
                  <a:gd name="T96" fmla="*/ 0 w 117"/>
                  <a:gd name="T97" fmla="*/ 96 h 145"/>
                  <a:gd name="T98" fmla="*/ 30 w 117"/>
                  <a:gd name="T99" fmla="*/ 96 h 145"/>
                  <a:gd name="T100" fmla="*/ 32 w 117"/>
                  <a:gd name="T101" fmla="*/ 10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145">
                    <a:moveTo>
                      <a:pt x="32" y="108"/>
                    </a:moveTo>
                    <a:cubicBezTo>
                      <a:pt x="34" y="111"/>
                      <a:pt x="36" y="114"/>
                      <a:pt x="39" y="116"/>
                    </a:cubicBezTo>
                    <a:cubicBezTo>
                      <a:pt x="42" y="118"/>
                      <a:pt x="45" y="119"/>
                      <a:pt x="49" y="120"/>
                    </a:cubicBezTo>
                    <a:cubicBezTo>
                      <a:pt x="52" y="121"/>
                      <a:pt x="56" y="122"/>
                      <a:pt x="60" y="122"/>
                    </a:cubicBezTo>
                    <a:cubicBezTo>
                      <a:pt x="63" y="122"/>
                      <a:pt x="66" y="121"/>
                      <a:pt x="69" y="121"/>
                    </a:cubicBezTo>
                    <a:cubicBezTo>
                      <a:pt x="72" y="121"/>
                      <a:pt x="75" y="120"/>
                      <a:pt x="78" y="118"/>
                    </a:cubicBezTo>
                    <a:cubicBezTo>
                      <a:pt x="80" y="117"/>
                      <a:pt x="83" y="115"/>
                      <a:pt x="84" y="113"/>
                    </a:cubicBezTo>
                    <a:cubicBezTo>
                      <a:pt x="86" y="111"/>
                      <a:pt x="87" y="108"/>
                      <a:pt x="87" y="104"/>
                    </a:cubicBezTo>
                    <a:cubicBezTo>
                      <a:pt x="87" y="101"/>
                      <a:pt x="86" y="98"/>
                      <a:pt x="84" y="95"/>
                    </a:cubicBezTo>
                    <a:cubicBezTo>
                      <a:pt x="81" y="93"/>
                      <a:pt x="78" y="91"/>
                      <a:pt x="74" y="90"/>
                    </a:cubicBezTo>
                    <a:cubicBezTo>
                      <a:pt x="70" y="88"/>
                      <a:pt x="66" y="87"/>
                      <a:pt x="61" y="85"/>
                    </a:cubicBezTo>
                    <a:cubicBezTo>
                      <a:pt x="56" y="84"/>
                      <a:pt x="51" y="83"/>
                      <a:pt x="46" y="82"/>
                    </a:cubicBezTo>
                    <a:cubicBezTo>
                      <a:pt x="41" y="80"/>
                      <a:pt x="36" y="79"/>
                      <a:pt x="31" y="77"/>
                    </a:cubicBezTo>
                    <a:cubicBezTo>
                      <a:pt x="26" y="75"/>
                      <a:pt x="22" y="73"/>
                      <a:pt x="18" y="70"/>
                    </a:cubicBezTo>
                    <a:cubicBezTo>
                      <a:pt x="14" y="67"/>
                      <a:pt x="11" y="63"/>
                      <a:pt x="8" y="58"/>
                    </a:cubicBezTo>
                    <a:cubicBezTo>
                      <a:pt x="6" y="54"/>
                      <a:pt x="5" y="49"/>
                      <a:pt x="5" y="42"/>
                    </a:cubicBezTo>
                    <a:cubicBezTo>
                      <a:pt x="5" y="35"/>
                      <a:pt x="6" y="29"/>
                      <a:pt x="9" y="24"/>
                    </a:cubicBezTo>
                    <a:cubicBezTo>
                      <a:pt x="12" y="19"/>
                      <a:pt x="16" y="14"/>
                      <a:pt x="21" y="11"/>
                    </a:cubicBezTo>
                    <a:cubicBezTo>
                      <a:pt x="26" y="7"/>
                      <a:pt x="32" y="5"/>
                      <a:pt x="38" y="3"/>
                    </a:cubicBezTo>
                    <a:cubicBezTo>
                      <a:pt x="44" y="1"/>
                      <a:pt x="50" y="0"/>
                      <a:pt x="56" y="0"/>
                    </a:cubicBezTo>
                    <a:cubicBezTo>
                      <a:pt x="64" y="0"/>
                      <a:pt x="71" y="1"/>
                      <a:pt x="77" y="3"/>
                    </a:cubicBezTo>
                    <a:cubicBezTo>
                      <a:pt x="84" y="4"/>
                      <a:pt x="90" y="7"/>
                      <a:pt x="95" y="11"/>
                    </a:cubicBezTo>
                    <a:cubicBezTo>
                      <a:pt x="100" y="14"/>
                      <a:pt x="104" y="19"/>
                      <a:pt x="107" y="25"/>
                    </a:cubicBezTo>
                    <a:cubicBezTo>
                      <a:pt x="110" y="30"/>
                      <a:pt x="112" y="37"/>
                      <a:pt x="112" y="45"/>
                    </a:cubicBezTo>
                    <a:cubicBezTo>
                      <a:pt x="82" y="45"/>
                      <a:pt x="82" y="45"/>
                      <a:pt x="82" y="45"/>
                    </a:cubicBezTo>
                    <a:cubicBezTo>
                      <a:pt x="82" y="41"/>
                      <a:pt x="81" y="37"/>
                      <a:pt x="80" y="35"/>
                    </a:cubicBezTo>
                    <a:cubicBezTo>
                      <a:pt x="78" y="32"/>
                      <a:pt x="76" y="30"/>
                      <a:pt x="74" y="28"/>
                    </a:cubicBezTo>
                    <a:cubicBezTo>
                      <a:pt x="71" y="27"/>
                      <a:pt x="69" y="26"/>
                      <a:pt x="65" y="25"/>
                    </a:cubicBezTo>
                    <a:cubicBezTo>
                      <a:pt x="62" y="24"/>
                      <a:pt x="59" y="24"/>
                      <a:pt x="55" y="24"/>
                    </a:cubicBezTo>
                    <a:cubicBezTo>
                      <a:pt x="53" y="24"/>
                      <a:pt x="50" y="24"/>
                      <a:pt x="48" y="25"/>
                    </a:cubicBezTo>
                    <a:cubicBezTo>
                      <a:pt x="45" y="25"/>
                      <a:pt x="43" y="26"/>
                      <a:pt x="41" y="28"/>
                    </a:cubicBezTo>
                    <a:cubicBezTo>
                      <a:pt x="39" y="29"/>
                      <a:pt x="37" y="30"/>
                      <a:pt x="36" y="32"/>
                    </a:cubicBezTo>
                    <a:cubicBezTo>
                      <a:pt x="35" y="34"/>
                      <a:pt x="34" y="37"/>
                      <a:pt x="34" y="40"/>
                    </a:cubicBezTo>
                    <a:cubicBezTo>
                      <a:pt x="34" y="42"/>
                      <a:pt x="35" y="45"/>
                      <a:pt x="36" y="46"/>
                    </a:cubicBezTo>
                    <a:cubicBezTo>
                      <a:pt x="37" y="48"/>
                      <a:pt x="39" y="50"/>
                      <a:pt x="42" y="51"/>
                    </a:cubicBezTo>
                    <a:cubicBezTo>
                      <a:pt x="45" y="52"/>
                      <a:pt x="49" y="54"/>
                      <a:pt x="54" y="55"/>
                    </a:cubicBezTo>
                    <a:cubicBezTo>
                      <a:pt x="60" y="57"/>
                      <a:pt x="67" y="58"/>
                      <a:pt x="75" y="61"/>
                    </a:cubicBezTo>
                    <a:cubicBezTo>
                      <a:pt x="78" y="61"/>
                      <a:pt x="82" y="62"/>
                      <a:pt x="86" y="63"/>
                    </a:cubicBezTo>
                    <a:cubicBezTo>
                      <a:pt x="91" y="65"/>
                      <a:pt x="95" y="67"/>
                      <a:pt x="100" y="70"/>
                    </a:cubicBezTo>
                    <a:cubicBezTo>
                      <a:pt x="104" y="73"/>
                      <a:pt x="108" y="77"/>
                      <a:pt x="112" y="82"/>
                    </a:cubicBezTo>
                    <a:cubicBezTo>
                      <a:pt x="115" y="87"/>
                      <a:pt x="117" y="93"/>
                      <a:pt x="117" y="101"/>
                    </a:cubicBezTo>
                    <a:cubicBezTo>
                      <a:pt x="117" y="107"/>
                      <a:pt x="115" y="113"/>
                      <a:pt x="113" y="119"/>
                    </a:cubicBezTo>
                    <a:cubicBezTo>
                      <a:pt x="110" y="124"/>
                      <a:pt x="107" y="129"/>
                      <a:pt x="102" y="133"/>
                    </a:cubicBezTo>
                    <a:cubicBezTo>
                      <a:pt x="97" y="137"/>
                      <a:pt x="91" y="140"/>
                      <a:pt x="84" y="142"/>
                    </a:cubicBezTo>
                    <a:cubicBezTo>
                      <a:pt x="77" y="144"/>
                      <a:pt x="68" y="145"/>
                      <a:pt x="59" y="145"/>
                    </a:cubicBezTo>
                    <a:cubicBezTo>
                      <a:pt x="51" y="145"/>
                      <a:pt x="44" y="144"/>
                      <a:pt x="37" y="142"/>
                    </a:cubicBezTo>
                    <a:cubicBezTo>
                      <a:pt x="30" y="140"/>
                      <a:pt x="23" y="138"/>
                      <a:pt x="18" y="134"/>
                    </a:cubicBezTo>
                    <a:cubicBezTo>
                      <a:pt x="12" y="129"/>
                      <a:pt x="8" y="124"/>
                      <a:pt x="5" y="118"/>
                    </a:cubicBezTo>
                    <a:cubicBezTo>
                      <a:pt x="2" y="112"/>
                      <a:pt x="0" y="105"/>
                      <a:pt x="0" y="96"/>
                    </a:cubicBezTo>
                    <a:cubicBezTo>
                      <a:pt x="30" y="96"/>
                      <a:pt x="30" y="96"/>
                      <a:pt x="30" y="96"/>
                    </a:cubicBezTo>
                    <a:cubicBezTo>
                      <a:pt x="30" y="101"/>
                      <a:pt x="30" y="105"/>
                      <a:pt x="3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45" name="Freeform 24"/>
              <p:cNvSpPr>
                <a:spLocks noEditPoints="1"/>
              </p:cNvSpPr>
              <p:nvPr/>
            </p:nvSpPr>
            <p:spPr bwMode="auto">
              <a:xfrm>
                <a:off x="1333500" y="4678363"/>
                <a:ext cx="128588" cy="136525"/>
              </a:xfrm>
              <a:custGeom>
                <a:avLst/>
                <a:gdLst>
                  <a:gd name="T0" fmla="*/ 34 w 100"/>
                  <a:gd name="T1" fmla="*/ 79 h 106"/>
                  <a:gd name="T2" fmla="*/ 52 w 100"/>
                  <a:gd name="T3" fmla="*/ 85 h 106"/>
                  <a:gd name="T4" fmla="*/ 66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3 w 100"/>
                  <a:gd name="T19" fmla="*/ 74 h 106"/>
                  <a:gd name="T20" fmla="*/ 0 w 100"/>
                  <a:gd name="T21" fmla="*/ 53 h 106"/>
                  <a:gd name="T22" fmla="*/ 3 w 100"/>
                  <a:gd name="T23" fmla="*/ 32 h 106"/>
                  <a:gd name="T24" fmla="*/ 14 w 100"/>
                  <a:gd name="T25" fmla="*/ 15 h 106"/>
                  <a:gd name="T26" fmla="*/ 30 w 100"/>
                  <a:gd name="T27" fmla="*/ 4 h 106"/>
                  <a:gd name="T28" fmla="*/ 51 w 100"/>
                  <a:gd name="T29" fmla="*/ 0 h 106"/>
                  <a:gd name="T30" fmla="*/ 73 w 100"/>
                  <a:gd name="T31" fmla="*/ 5 h 106"/>
                  <a:gd name="T32" fmla="*/ 89 w 100"/>
                  <a:gd name="T33" fmla="*/ 18 h 106"/>
                  <a:gd name="T34" fmla="*/ 98 w 100"/>
                  <a:gd name="T35" fmla="*/ 37 h 106"/>
                  <a:gd name="T36" fmla="*/ 100 w 100"/>
                  <a:gd name="T37" fmla="*/ 60 h 106"/>
                  <a:gd name="T38" fmla="*/ 27 w 100"/>
                  <a:gd name="T39" fmla="*/ 60 h 106"/>
                  <a:gd name="T40" fmla="*/ 34 w 100"/>
                  <a:gd name="T41" fmla="*/ 79 h 106"/>
                  <a:gd name="T42" fmla="*/ 65 w 100"/>
                  <a:gd name="T43" fmla="*/ 26 h 106"/>
                  <a:gd name="T44" fmla="*/ 50 w 100"/>
                  <a:gd name="T45" fmla="*/ 21 h 106"/>
                  <a:gd name="T46" fmla="*/ 39 w 100"/>
                  <a:gd name="T47" fmla="*/ 23 h 106"/>
                  <a:gd name="T48" fmla="*/ 32 w 100"/>
                  <a:gd name="T49" fmla="*/ 29 h 106"/>
                  <a:gd name="T50" fmla="*/ 29 w 100"/>
                  <a:gd name="T51" fmla="*/ 36 h 106"/>
                  <a:gd name="T52" fmla="*/ 27 w 100"/>
                  <a:gd name="T53" fmla="*/ 42 h 106"/>
                  <a:gd name="T54" fmla="*/ 72 w 100"/>
                  <a:gd name="T55" fmla="*/ 42 h 106"/>
                  <a:gd name="T56" fmla="*/ 65 w 100"/>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8" y="83"/>
                      <a:pt x="44" y="85"/>
                      <a:pt x="52" y="85"/>
                    </a:cubicBezTo>
                    <a:cubicBezTo>
                      <a:pt x="57" y="85"/>
                      <a:pt x="62" y="84"/>
                      <a:pt x="66" y="81"/>
                    </a:cubicBezTo>
                    <a:cubicBezTo>
                      <a:pt x="70" y="78"/>
                      <a:pt x="73" y="75"/>
                      <a:pt x="74" y="72"/>
                    </a:cubicBezTo>
                    <a:cubicBezTo>
                      <a:pt x="98" y="72"/>
                      <a:pt x="98" y="72"/>
                      <a:pt x="98" y="72"/>
                    </a:cubicBezTo>
                    <a:cubicBezTo>
                      <a:pt x="94" y="84"/>
                      <a:pt x="88" y="93"/>
                      <a:pt x="80" y="98"/>
                    </a:cubicBezTo>
                    <a:cubicBezTo>
                      <a:pt x="72" y="103"/>
                      <a:pt x="62" y="106"/>
                      <a:pt x="51" y="106"/>
                    </a:cubicBezTo>
                    <a:cubicBezTo>
                      <a:pt x="43" y="106"/>
                      <a:pt x="36" y="104"/>
                      <a:pt x="30" y="102"/>
                    </a:cubicBezTo>
                    <a:cubicBezTo>
                      <a:pt x="23" y="99"/>
                      <a:pt x="18" y="96"/>
                      <a:pt x="14" y="91"/>
                    </a:cubicBezTo>
                    <a:cubicBezTo>
                      <a:pt x="9" y="86"/>
                      <a:pt x="6" y="81"/>
                      <a:pt x="3" y="74"/>
                    </a:cubicBezTo>
                    <a:cubicBezTo>
                      <a:pt x="1" y="68"/>
                      <a:pt x="0" y="61"/>
                      <a:pt x="0" y="53"/>
                    </a:cubicBezTo>
                    <a:cubicBezTo>
                      <a:pt x="0" y="46"/>
                      <a:pt x="1" y="39"/>
                      <a:pt x="3" y="32"/>
                    </a:cubicBezTo>
                    <a:cubicBezTo>
                      <a:pt x="6" y="26"/>
                      <a:pt x="9" y="20"/>
                      <a:pt x="14" y="15"/>
                    </a:cubicBezTo>
                    <a:cubicBezTo>
                      <a:pt x="18" y="11"/>
                      <a:pt x="24" y="7"/>
                      <a:pt x="30" y="4"/>
                    </a:cubicBezTo>
                    <a:cubicBezTo>
                      <a:pt x="36" y="2"/>
                      <a:pt x="43" y="0"/>
                      <a:pt x="51" y="0"/>
                    </a:cubicBezTo>
                    <a:cubicBezTo>
                      <a:pt x="59" y="0"/>
                      <a:pt x="67" y="2"/>
                      <a:pt x="73" y="5"/>
                    </a:cubicBezTo>
                    <a:cubicBezTo>
                      <a:pt x="80" y="8"/>
                      <a:pt x="85" y="13"/>
                      <a:pt x="89" y="18"/>
                    </a:cubicBezTo>
                    <a:cubicBezTo>
                      <a:pt x="93" y="24"/>
                      <a:pt x="96" y="30"/>
                      <a:pt x="98" y="37"/>
                    </a:cubicBezTo>
                    <a:cubicBezTo>
                      <a:pt x="99" y="44"/>
                      <a:pt x="100" y="52"/>
                      <a:pt x="100" y="60"/>
                    </a:cubicBezTo>
                    <a:cubicBezTo>
                      <a:pt x="27" y="60"/>
                      <a:pt x="27" y="60"/>
                      <a:pt x="27" y="60"/>
                    </a:cubicBezTo>
                    <a:cubicBezTo>
                      <a:pt x="28" y="69"/>
                      <a:pt x="30" y="75"/>
                      <a:pt x="34" y="79"/>
                    </a:cubicBezTo>
                    <a:close/>
                    <a:moveTo>
                      <a:pt x="65" y="26"/>
                    </a:moveTo>
                    <a:cubicBezTo>
                      <a:pt x="62" y="23"/>
                      <a:pt x="57" y="21"/>
                      <a:pt x="50" y="21"/>
                    </a:cubicBezTo>
                    <a:cubicBezTo>
                      <a:pt x="46" y="21"/>
                      <a:pt x="42" y="22"/>
                      <a:pt x="39" y="23"/>
                    </a:cubicBezTo>
                    <a:cubicBezTo>
                      <a:pt x="36" y="25"/>
                      <a:pt x="34" y="26"/>
                      <a:pt x="32" y="29"/>
                    </a:cubicBezTo>
                    <a:cubicBezTo>
                      <a:pt x="31" y="31"/>
                      <a:pt x="29" y="33"/>
                      <a:pt x="29" y="36"/>
                    </a:cubicBezTo>
                    <a:cubicBezTo>
                      <a:pt x="28" y="38"/>
                      <a:pt x="27" y="40"/>
                      <a:pt x="27" y="42"/>
                    </a:cubicBezTo>
                    <a:cubicBezTo>
                      <a:pt x="72" y="42"/>
                      <a:pt x="72" y="42"/>
                      <a:pt x="72" y="42"/>
                    </a:cubicBezTo>
                    <a:cubicBezTo>
                      <a:pt x="71" y="35"/>
                      <a:pt x="68" y="30"/>
                      <a:pt x="6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4" name="Freeform 25"/>
              <p:cNvSpPr>
                <a:spLocks/>
              </p:cNvSpPr>
              <p:nvPr/>
            </p:nvSpPr>
            <p:spPr bwMode="auto">
              <a:xfrm>
                <a:off x="1479550" y="4678363"/>
                <a:ext cx="82550" cy="133350"/>
              </a:xfrm>
              <a:custGeom>
                <a:avLst/>
                <a:gdLst>
                  <a:gd name="T0" fmla="*/ 26 w 64"/>
                  <a:gd name="T1" fmla="*/ 3 h 103"/>
                  <a:gd name="T2" fmla="*/ 26 w 64"/>
                  <a:gd name="T3" fmla="*/ 21 h 103"/>
                  <a:gd name="T4" fmla="*/ 27 w 64"/>
                  <a:gd name="T5" fmla="*/ 21 h 103"/>
                  <a:gd name="T6" fmla="*/ 32 w 64"/>
                  <a:gd name="T7" fmla="*/ 13 h 103"/>
                  <a:gd name="T8" fmla="*/ 39 w 64"/>
                  <a:gd name="T9" fmla="*/ 6 h 103"/>
                  <a:gd name="T10" fmla="*/ 48 w 64"/>
                  <a:gd name="T11" fmla="*/ 2 h 103"/>
                  <a:gd name="T12" fmla="*/ 58 w 64"/>
                  <a:gd name="T13" fmla="*/ 0 h 103"/>
                  <a:gd name="T14" fmla="*/ 64 w 64"/>
                  <a:gd name="T15" fmla="*/ 1 h 103"/>
                  <a:gd name="T16" fmla="*/ 64 w 64"/>
                  <a:gd name="T17" fmla="*/ 27 h 103"/>
                  <a:gd name="T18" fmla="*/ 60 w 64"/>
                  <a:gd name="T19" fmla="*/ 26 h 103"/>
                  <a:gd name="T20" fmla="*/ 55 w 64"/>
                  <a:gd name="T21" fmla="*/ 26 h 103"/>
                  <a:gd name="T22" fmla="*/ 42 w 64"/>
                  <a:gd name="T23" fmla="*/ 28 h 103"/>
                  <a:gd name="T24" fmla="*/ 33 w 64"/>
                  <a:gd name="T25" fmla="*/ 35 h 103"/>
                  <a:gd name="T26" fmla="*/ 29 w 64"/>
                  <a:gd name="T27" fmla="*/ 45 h 103"/>
                  <a:gd name="T28" fmla="*/ 27 w 64"/>
                  <a:gd name="T29" fmla="*/ 58 h 103"/>
                  <a:gd name="T30" fmla="*/ 27 w 64"/>
                  <a:gd name="T31" fmla="*/ 103 h 103"/>
                  <a:gd name="T32" fmla="*/ 0 w 64"/>
                  <a:gd name="T33" fmla="*/ 103 h 103"/>
                  <a:gd name="T34" fmla="*/ 0 w 64"/>
                  <a:gd name="T35" fmla="*/ 3 h 103"/>
                  <a:gd name="T36" fmla="*/ 26 w 64"/>
                  <a:gd name="T37"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3">
                    <a:moveTo>
                      <a:pt x="26" y="3"/>
                    </a:moveTo>
                    <a:cubicBezTo>
                      <a:pt x="26" y="21"/>
                      <a:pt x="26" y="21"/>
                      <a:pt x="26" y="21"/>
                    </a:cubicBezTo>
                    <a:cubicBezTo>
                      <a:pt x="27" y="21"/>
                      <a:pt x="27" y="21"/>
                      <a:pt x="27" y="21"/>
                    </a:cubicBezTo>
                    <a:cubicBezTo>
                      <a:pt x="28" y="18"/>
                      <a:pt x="30" y="16"/>
                      <a:pt x="32" y="13"/>
                    </a:cubicBezTo>
                    <a:cubicBezTo>
                      <a:pt x="34" y="10"/>
                      <a:pt x="36" y="8"/>
                      <a:pt x="39" y="6"/>
                    </a:cubicBezTo>
                    <a:cubicBezTo>
                      <a:pt x="42" y="4"/>
                      <a:pt x="45" y="3"/>
                      <a:pt x="48" y="2"/>
                    </a:cubicBezTo>
                    <a:cubicBezTo>
                      <a:pt x="52" y="1"/>
                      <a:pt x="55" y="0"/>
                      <a:pt x="58" y="0"/>
                    </a:cubicBezTo>
                    <a:cubicBezTo>
                      <a:pt x="60" y="0"/>
                      <a:pt x="62" y="1"/>
                      <a:pt x="64" y="1"/>
                    </a:cubicBezTo>
                    <a:cubicBezTo>
                      <a:pt x="64" y="27"/>
                      <a:pt x="64" y="27"/>
                      <a:pt x="64" y="27"/>
                    </a:cubicBezTo>
                    <a:cubicBezTo>
                      <a:pt x="63" y="26"/>
                      <a:pt x="62" y="26"/>
                      <a:pt x="60" y="26"/>
                    </a:cubicBezTo>
                    <a:cubicBezTo>
                      <a:pt x="58" y="26"/>
                      <a:pt x="56" y="26"/>
                      <a:pt x="55" y="26"/>
                    </a:cubicBezTo>
                    <a:cubicBezTo>
                      <a:pt x="50" y="26"/>
                      <a:pt x="45" y="27"/>
                      <a:pt x="42" y="28"/>
                    </a:cubicBezTo>
                    <a:cubicBezTo>
                      <a:pt x="38" y="30"/>
                      <a:pt x="36" y="32"/>
                      <a:pt x="33" y="35"/>
                    </a:cubicBezTo>
                    <a:cubicBezTo>
                      <a:pt x="31" y="38"/>
                      <a:pt x="30" y="41"/>
                      <a:pt x="29" y="45"/>
                    </a:cubicBezTo>
                    <a:cubicBezTo>
                      <a:pt x="28" y="49"/>
                      <a:pt x="27" y="53"/>
                      <a:pt x="27" y="58"/>
                    </a:cubicBezTo>
                    <a:cubicBezTo>
                      <a:pt x="27" y="103"/>
                      <a:pt x="27" y="103"/>
                      <a:pt x="27" y="103"/>
                    </a:cubicBezTo>
                    <a:cubicBezTo>
                      <a:pt x="0" y="103"/>
                      <a:pt x="0" y="103"/>
                      <a:pt x="0" y="103"/>
                    </a:cubicBezTo>
                    <a:cubicBezTo>
                      <a:pt x="0" y="3"/>
                      <a:pt x="0" y="3"/>
                      <a:pt x="0" y="3"/>
                    </a:cubicBez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5" name="Freeform 26"/>
              <p:cNvSpPr>
                <a:spLocks/>
              </p:cNvSpPr>
              <p:nvPr/>
            </p:nvSpPr>
            <p:spPr bwMode="auto">
              <a:xfrm>
                <a:off x="1573213" y="4681538"/>
                <a:ext cx="127000" cy="130175"/>
              </a:xfrm>
              <a:custGeom>
                <a:avLst/>
                <a:gdLst>
                  <a:gd name="T0" fmla="*/ 28 w 80"/>
                  <a:gd name="T1" fmla="*/ 82 h 82"/>
                  <a:gd name="T2" fmla="*/ 0 w 80"/>
                  <a:gd name="T3" fmla="*/ 0 h 82"/>
                  <a:gd name="T4" fmla="*/ 24 w 80"/>
                  <a:gd name="T5" fmla="*/ 0 h 82"/>
                  <a:gd name="T6" fmla="*/ 41 w 80"/>
                  <a:gd name="T7" fmla="*/ 56 h 82"/>
                  <a:gd name="T8" fmla="*/ 41 w 80"/>
                  <a:gd name="T9" fmla="*/ 56 h 82"/>
                  <a:gd name="T10" fmla="*/ 58 w 80"/>
                  <a:gd name="T11" fmla="*/ 0 h 82"/>
                  <a:gd name="T12" fmla="*/ 80 w 80"/>
                  <a:gd name="T13" fmla="*/ 0 h 82"/>
                  <a:gd name="T14" fmla="*/ 53 w 80"/>
                  <a:gd name="T15" fmla="*/ 82 h 82"/>
                  <a:gd name="T16" fmla="*/ 28 w 80"/>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2">
                    <a:moveTo>
                      <a:pt x="28" y="82"/>
                    </a:moveTo>
                    <a:lnTo>
                      <a:pt x="0" y="0"/>
                    </a:lnTo>
                    <a:lnTo>
                      <a:pt x="24" y="0"/>
                    </a:lnTo>
                    <a:lnTo>
                      <a:pt x="41" y="56"/>
                    </a:lnTo>
                    <a:lnTo>
                      <a:pt x="41" y="56"/>
                    </a:lnTo>
                    <a:lnTo>
                      <a:pt x="58" y="0"/>
                    </a:lnTo>
                    <a:lnTo>
                      <a:pt x="80" y="0"/>
                    </a:lnTo>
                    <a:lnTo>
                      <a:pt x="53" y="82"/>
                    </a:lnTo>
                    <a:lnTo>
                      <a:pt x="2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6" name="Freeform 27"/>
              <p:cNvSpPr>
                <a:spLocks noEditPoints="1"/>
              </p:cNvSpPr>
              <p:nvPr/>
            </p:nvSpPr>
            <p:spPr bwMode="auto">
              <a:xfrm>
                <a:off x="1712913" y="4632326"/>
                <a:ext cx="34925" cy="179388"/>
              </a:xfrm>
              <a:custGeom>
                <a:avLst/>
                <a:gdLst>
                  <a:gd name="T0" fmla="*/ 0 w 22"/>
                  <a:gd name="T1" fmla="*/ 18 h 113"/>
                  <a:gd name="T2" fmla="*/ 0 w 22"/>
                  <a:gd name="T3" fmla="*/ 0 h 113"/>
                  <a:gd name="T4" fmla="*/ 22 w 22"/>
                  <a:gd name="T5" fmla="*/ 0 h 113"/>
                  <a:gd name="T6" fmla="*/ 22 w 22"/>
                  <a:gd name="T7" fmla="*/ 18 h 113"/>
                  <a:gd name="T8" fmla="*/ 0 w 22"/>
                  <a:gd name="T9" fmla="*/ 18 h 113"/>
                  <a:gd name="T10" fmla="*/ 22 w 22"/>
                  <a:gd name="T11" fmla="*/ 31 h 113"/>
                  <a:gd name="T12" fmla="*/ 22 w 22"/>
                  <a:gd name="T13" fmla="*/ 113 h 113"/>
                  <a:gd name="T14" fmla="*/ 0 w 22"/>
                  <a:gd name="T15" fmla="*/ 113 h 113"/>
                  <a:gd name="T16" fmla="*/ 0 w 22"/>
                  <a:gd name="T17" fmla="*/ 31 h 113"/>
                  <a:gd name="T18" fmla="*/ 22 w 22"/>
                  <a:gd name="T19" fmla="*/ 3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13">
                    <a:moveTo>
                      <a:pt x="0" y="18"/>
                    </a:moveTo>
                    <a:lnTo>
                      <a:pt x="0" y="0"/>
                    </a:lnTo>
                    <a:lnTo>
                      <a:pt x="22" y="0"/>
                    </a:lnTo>
                    <a:lnTo>
                      <a:pt x="22" y="18"/>
                    </a:lnTo>
                    <a:lnTo>
                      <a:pt x="0" y="18"/>
                    </a:lnTo>
                    <a:close/>
                    <a:moveTo>
                      <a:pt x="22" y="31"/>
                    </a:moveTo>
                    <a:lnTo>
                      <a:pt x="22" y="113"/>
                    </a:lnTo>
                    <a:lnTo>
                      <a:pt x="0" y="113"/>
                    </a:lnTo>
                    <a:lnTo>
                      <a:pt x="0" y="31"/>
                    </a:lnTo>
                    <a:lnTo>
                      <a:pt x="2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7" name="Freeform 28"/>
              <p:cNvSpPr>
                <a:spLocks/>
              </p:cNvSpPr>
              <p:nvPr/>
            </p:nvSpPr>
            <p:spPr bwMode="auto">
              <a:xfrm>
                <a:off x="1766888" y="4678363"/>
                <a:ext cx="127000" cy="136525"/>
              </a:xfrm>
              <a:custGeom>
                <a:avLst/>
                <a:gdLst>
                  <a:gd name="T0" fmla="*/ 51 w 99"/>
                  <a:gd name="T1" fmla="*/ 21 h 106"/>
                  <a:gd name="T2" fmla="*/ 40 w 99"/>
                  <a:gd name="T3" fmla="*/ 24 h 106"/>
                  <a:gd name="T4" fmla="*/ 33 w 99"/>
                  <a:gd name="T5" fmla="*/ 32 h 106"/>
                  <a:gd name="T6" fmla="*/ 29 w 99"/>
                  <a:gd name="T7" fmla="*/ 42 h 106"/>
                  <a:gd name="T8" fmla="*/ 28 w 99"/>
                  <a:gd name="T9" fmla="*/ 53 h 106"/>
                  <a:gd name="T10" fmla="*/ 29 w 99"/>
                  <a:gd name="T11" fmla="*/ 64 h 106"/>
                  <a:gd name="T12" fmla="*/ 33 w 99"/>
                  <a:gd name="T13" fmla="*/ 75 h 106"/>
                  <a:gd name="T14" fmla="*/ 40 w 99"/>
                  <a:gd name="T15" fmla="*/ 82 h 106"/>
                  <a:gd name="T16" fmla="*/ 51 w 99"/>
                  <a:gd name="T17" fmla="*/ 85 h 106"/>
                  <a:gd name="T18" fmla="*/ 66 w 99"/>
                  <a:gd name="T19" fmla="*/ 79 h 106"/>
                  <a:gd name="T20" fmla="*/ 73 w 99"/>
                  <a:gd name="T21" fmla="*/ 65 h 106"/>
                  <a:gd name="T22" fmla="*/ 99 w 99"/>
                  <a:gd name="T23" fmla="*/ 65 h 106"/>
                  <a:gd name="T24" fmla="*/ 84 w 99"/>
                  <a:gd name="T25" fmla="*/ 95 h 106"/>
                  <a:gd name="T26" fmla="*/ 51 w 99"/>
                  <a:gd name="T27" fmla="*/ 106 h 106"/>
                  <a:gd name="T28" fmla="*/ 30 w 99"/>
                  <a:gd name="T29" fmla="*/ 102 h 106"/>
                  <a:gd name="T30" fmla="*/ 14 w 99"/>
                  <a:gd name="T31" fmla="*/ 91 h 106"/>
                  <a:gd name="T32" fmla="*/ 4 w 99"/>
                  <a:gd name="T33" fmla="*/ 75 h 106"/>
                  <a:gd name="T34" fmla="*/ 0 w 99"/>
                  <a:gd name="T35" fmla="*/ 54 h 106"/>
                  <a:gd name="T36" fmla="*/ 4 w 99"/>
                  <a:gd name="T37" fmla="*/ 33 h 106"/>
                  <a:gd name="T38" fmla="*/ 14 w 99"/>
                  <a:gd name="T39" fmla="*/ 16 h 106"/>
                  <a:gd name="T40" fmla="*/ 30 w 99"/>
                  <a:gd name="T41" fmla="*/ 4 h 106"/>
                  <a:gd name="T42" fmla="*/ 51 w 99"/>
                  <a:gd name="T43" fmla="*/ 0 h 106"/>
                  <a:gd name="T44" fmla="*/ 69 w 99"/>
                  <a:gd name="T45" fmla="*/ 2 h 106"/>
                  <a:gd name="T46" fmla="*/ 83 w 99"/>
                  <a:gd name="T47" fmla="*/ 10 h 106"/>
                  <a:gd name="T48" fmla="*/ 94 w 99"/>
                  <a:gd name="T49" fmla="*/ 21 h 106"/>
                  <a:gd name="T50" fmla="*/ 99 w 99"/>
                  <a:gd name="T51" fmla="*/ 38 h 106"/>
                  <a:gd name="T52" fmla="*/ 72 w 99"/>
                  <a:gd name="T53" fmla="*/ 38 h 106"/>
                  <a:gd name="T54" fmla="*/ 51 w 99"/>
                  <a:gd name="T55"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06">
                    <a:moveTo>
                      <a:pt x="51" y="21"/>
                    </a:moveTo>
                    <a:cubicBezTo>
                      <a:pt x="47" y="21"/>
                      <a:pt x="43" y="22"/>
                      <a:pt x="40" y="24"/>
                    </a:cubicBezTo>
                    <a:cubicBezTo>
                      <a:pt x="37" y="26"/>
                      <a:pt x="35" y="28"/>
                      <a:pt x="33" y="32"/>
                    </a:cubicBezTo>
                    <a:cubicBezTo>
                      <a:pt x="31" y="35"/>
                      <a:pt x="30" y="38"/>
                      <a:pt x="29" y="42"/>
                    </a:cubicBezTo>
                    <a:cubicBezTo>
                      <a:pt x="28" y="46"/>
                      <a:pt x="28" y="50"/>
                      <a:pt x="28" y="53"/>
                    </a:cubicBezTo>
                    <a:cubicBezTo>
                      <a:pt x="28" y="57"/>
                      <a:pt x="28" y="61"/>
                      <a:pt x="29" y="64"/>
                    </a:cubicBezTo>
                    <a:cubicBezTo>
                      <a:pt x="30" y="68"/>
                      <a:pt x="31" y="72"/>
                      <a:pt x="33" y="75"/>
                    </a:cubicBezTo>
                    <a:cubicBezTo>
                      <a:pt x="34" y="78"/>
                      <a:pt x="37" y="80"/>
                      <a:pt x="40" y="82"/>
                    </a:cubicBezTo>
                    <a:cubicBezTo>
                      <a:pt x="43" y="84"/>
                      <a:pt x="46" y="85"/>
                      <a:pt x="51" y="85"/>
                    </a:cubicBezTo>
                    <a:cubicBezTo>
                      <a:pt x="57" y="85"/>
                      <a:pt x="62" y="83"/>
                      <a:pt x="66" y="79"/>
                    </a:cubicBezTo>
                    <a:cubicBezTo>
                      <a:pt x="69" y="76"/>
                      <a:pt x="72" y="71"/>
                      <a:pt x="73" y="65"/>
                    </a:cubicBezTo>
                    <a:cubicBezTo>
                      <a:pt x="99" y="65"/>
                      <a:pt x="99" y="65"/>
                      <a:pt x="99" y="65"/>
                    </a:cubicBezTo>
                    <a:cubicBezTo>
                      <a:pt x="97" y="78"/>
                      <a:pt x="92" y="88"/>
                      <a:pt x="84" y="95"/>
                    </a:cubicBezTo>
                    <a:cubicBezTo>
                      <a:pt x="75" y="102"/>
                      <a:pt x="64" y="106"/>
                      <a:pt x="51" y="106"/>
                    </a:cubicBezTo>
                    <a:cubicBezTo>
                      <a:pt x="43" y="106"/>
                      <a:pt x="36" y="104"/>
                      <a:pt x="30" y="102"/>
                    </a:cubicBezTo>
                    <a:cubicBezTo>
                      <a:pt x="24" y="99"/>
                      <a:pt x="19" y="96"/>
                      <a:pt x="14" y="91"/>
                    </a:cubicBezTo>
                    <a:cubicBezTo>
                      <a:pt x="10" y="87"/>
                      <a:pt x="6" y="81"/>
                      <a:pt x="4" y="75"/>
                    </a:cubicBezTo>
                    <a:cubicBezTo>
                      <a:pt x="2" y="69"/>
                      <a:pt x="0" y="62"/>
                      <a:pt x="0" y="54"/>
                    </a:cubicBezTo>
                    <a:cubicBezTo>
                      <a:pt x="0" y="47"/>
                      <a:pt x="1" y="39"/>
                      <a:pt x="4" y="33"/>
                    </a:cubicBezTo>
                    <a:cubicBezTo>
                      <a:pt x="6" y="26"/>
                      <a:pt x="9" y="20"/>
                      <a:pt x="14" y="16"/>
                    </a:cubicBezTo>
                    <a:cubicBezTo>
                      <a:pt x="18" y="11"/>
                      <a:pt x="23" y="7"/>
                      <a:pt x="30" y="4"/>
                    </a:cubicBezTo>
                    <a:cubicBezTo>
                      <a:pt x="36" y="2"/>
                      <a:pt x="43" y="0"/>
                      <a:pt x="51" y="0"/>
                    </a:cubicBezTo>
                    <a:cubicBezTo>
                      <a:pt x="57" y="0"/>
                      <a:pt x="63" y="1"/>
                      <a:pt x="69" y="2"/>
                    </a:cubicBezTo>
                    <a:cubicBezTo>
                      <a:pt x="74" y="4"/>
                      <a:pt x="79" y="6"/>
                      <a:pt x="83" y="10"/>
                    </a:cubicBezTo>
                    <a:cubicBezTo>
                      <a:pt x="88" y="13"/>
                      <a:pt x="91" y="17"/>
                      <a:pt x="94" y="21"/>
                    </a:cubicBezTo>
                    <a:cubicBezTo>
                      <a:pt x="97" y="26"/>
                      <a:pt x="98" y="32"/>
                      <a:pt x="99" y="38"/>
                    </a:cubicBezTo>
                    <a:cubicBezTo>
                      <a:pt x="72" y="38"/>
                      <a:pt x="72" y="38"/>
                      <a:pt x="72" y="38"/>
                    </a:cubicBezTo>
                    <a:cubicBezTo>
                      <a:pt x="70" y="27"/>
                      <a:pt x="63" y="21"/>
                      <a:pt x="5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8" name="Freeform 29"/>
              <p:cNvSpPr>
                <a:spLocks noEditPoints="1"/>
              </p:cNvSpPr>
              <p:nvPr/>
            </p:nvSpPr>
            <p:spPr bwMode="auto">
              <a:xfrm>
                <a:off x="1903413" y="4678363"/>
                <a:ext cx="130175" cy="136525"/>
              </a:xfrm>
              <a:custGeom>
                <a:avLst/>
                <a:gdLst>
                  <a:gd name="T0" fmla="*/ 35 w 101"/>
                  <a:gd name="T1" fmla="*/ 79 h 106"/>
                  <a:gd name="T2" fmla="*/ 52 w 101"/>
                  <a:gd name="T3" fmla="*/ 85 h 106"/>
                  <a:gd name="T4" fmla="*/ 67 w 101"/>
                  <a:gd name="T5" fmla="*/ 81 h 106"/>
                  <a:gd name="T6" fmla="*/ 74 w 101"/>
                  <a:gd name="T7" fmla="*/ 72 h 106"/>
                  <a:gd name="T8" fmla="*/ 98 w 101"/>
                  <a:gd name="T9" fmla="*/ 72 h 106"/>
                  <a:gd name="T10" fmla="*/ 81 w 101"/>
                  <a:gd name="T11" fmla="*/ 98 h 106"/>
                  <a:gd name="T12" fmla="*/ 51 w 101"/>
                  <a:gd name="T13" fmla="*/ 106 h 106"/>
                  <a:gd name="T14" fmla="*/ 30 w 101"/>
                  <a:gd name="T15" fmla="*/ 102 h 106"/>
                  <a:gd name="T16" fmla="*/ 14 w 101"/>
                  <a:gd name="T17" fmla="*/ 91 h 106"/>
                  <a:gd name="T18" fmla="*/ 4 w 101"/>
                  <a:gd name="T19" fmla="*/ 74 h 106"/>
                  <a:gd name="T20" fmla="*/ 0 w 101"/>
                  <a:gd name="T21" fmla="*/ 53 h 106"/>
                  <a:gd name="T22" fmla="*/ 4 w 101"/>
                  <a:gd name="T23" fmla="*/ 32 h 106"/>
                  <a:gd name="T24" fmla="*/ 14 w 101"/>
                  <a:gd name="T25" fmla="*/ 15 h 106"/>
                  <a:gd name="T26" fmla="*/ 31 w 101"/>
                  <a:gd name="T27" fmla="*/ 4 h 106"/>
                  <a:gd name="T28" fmla="*/ 51 w 101"/>
                  <a:gd name="T29" fmla="*/ 0 h 106"/>
                  <a:gd name="T30" fmla="*/ 74 w 101"/>
                  <a:gd name="T31" fmla="*/ 5 h 106"/>
                  <a:gd name="T32" fmla="*/ 89 w 101"/>
                  <a:gd name="T33" fmla="*/ 18 h 106"/>
                  <a:gd name="T34" fmla="*/ 98 w 101"/>
                  <a:gd name="T35" fmla="*/ 37 h 106"/>
                  <a:gd name="T36" fmla="*/ 100 w 101"/>
                  <a:gd name="T37" fmla="*/ 60 h 106"/>
                  <a:gd name="T38" fmla="*/ 28 w 101"/>
                  <a:gd name="T39" fmla="*/ 60 h 106"/>
                  <a:gd name="T40" fmla="*/ 35 w 101"/>
                  <a:gd name="T41" fmla="*/ 79 h 106"/>
                  <a:gd name="T42" fmla="*/ 66 w 101"/>
                  <a:gd name="T43" fmla="*/ 26 h 106"/>
                  <a:gd name="T44" fmla="*/ 51 w 101"/>
                  <a:gd name="T45" fmla="*/ 21 h 106"/>
                  <a:gd name="T46" fmla="*/ 40 w 101"/>
                  <a:gd name="T47" fmla="*/ 23 h 106"/>
                  <a:gd name="T48" fmla="*/ 33 w 101"/>
                  <a:gd name="T49" fmla="*/ 29 h 106"/>
                  <a:gd name="T50" fmla="*/ 29 w 101"/>
                  <a:gd name="T51" fmla="*/ 36 h 106"/>
                  <a:gd name="T52" fmla="*/ 28 w 101"/>
                  <a:gd name="T53" fmla="*/ 42 h 106"/>
                  <a:gd name="T54" fmla="*/ 73 w 101"/>
                  <a:gd name="T55" fmla="*/ 42 h 106"/>
                  <a:gd name="T56" fmla="*/ 66 w 101"/>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1" h="106">
                    <a:moveTo>
                      <a:pt x="35"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9" y="93"/>
                      <a:pt x="81" y="98"/>
                    </a:cubicBezTo>
                    <a:cubicBezTo>
                      <a:pt x="73" y="103"/>
                      <a:pt x="63" y="106"/>
                      <a:pt x="51" y="106"/>
                    </a:cubicBezTo>
                    <a:cubicBezTo>
                      <a:pt x="44" y="106"/>
                      <a:pt x="36" y="104"/>
                      <a:pt x="30" y="102"/>
                    </a:cubicBezTo>
                    <a:cubicBezTo>
                      <a:pt x="24" y="99"/>
                      <a:pt x="18" y="96"/>
                      <a:pt x="14" y="91"/>
                    </a:cubicBezTo>
                    <a:cubicBezTo>
                      <a:pt x="10" y="86"/>
                      <a:pt x="6" y="81"/>
                      <a:pt x="4" y="74"/>
                    </a:cubicBezTo>
                    <a:cubicBezTo>
                      <a:pt x="2" y="68"/>
                      <a:pt x="0" y="61"/>
                      <a:pt x="0" y="53"/>
                    </a:cubicBezTo>
                    <a:cubicBezTo>
                      <a:pt x="0" y="46"/>
                      <a:pt x="2" y="39"/>
                      <a:pt x="4" y="32"/>
                    </a:cubicBezTo>
                    <a:cubicBezTo>
                      <a:pt x="6" y="26"/>
                      <a:pt x="10" y="20"/>
                      <a:pt x="14" y="15"/>
                    </a:cubicBezTo>
                    <a:cubicBezTo>
                      <a:pt x="19" y="11"/>
                      <a:pt x="24" y="7"/>
                      <a:pt x="31" y="4"/>
                    </a:cubicBezTo>
                    <a:cubicBezTo>
                      <a:pt x="37" y="2"/>
                      <a:pt x="44" y="0"/>
                      <a:pt x="51" y="0"/>
                    </a:cubicBezTo>
                    <a:cubicBezTo>
                      <a:pt x="60" y="0"/>
                      <a:pt x="67" y="2"/>
                      <a:pt x="74" y="5"/>
                    </a:cubicBezTo>
                    <a:cubicBezTo>
                      <a:pt x="80" y="8"/>
                      <a:pt x="85" y="13"/>
                      <a:pt x="89" y="18"/>
                    </a:cubicBezTo>
                    <a:cubicBezTo>
                      <a:pt x="93" y="24"/>
                      <a:pt x="96" y="30"/>
                      <a:pt x="98" y="37"/>
                    </a:cubicBezTo>
                    <a:cubicBezTo>
                      <a:pt x="100" y="44"/>
                      <a:pt x="101" y="52"/>
                      <a:pt x="100" y="60"/>
                    </a:cubicBezTo>
                    <a:cubicBezTo>
                      <a:pt x="28" y="60"/>
                      <a:pt x="28" y="60"/>
                      <a:pt x="28" y="60"/>
                    </a:cubicBezTo>
                    <a:cubicBezTo>
                      <a:pt x="28" y="69"/>
                      <a:pt x="30" y="75"/>
                      <a:pt x="35" y="79"/>
                    </a:cubicBezTo>
                    <a:close/>
                    <a:moveTo>
                      <a:pt x="66" y="26"/>
                    </a:moveTo>
                    <a:cubicBezTo>
                      <a:pt x="62" y="23"/>
                      <a:pt x="57" y="21"/>
                      <a:pt x="51" y="21"/>
                    </a:cubicBezTo>
                    <a:cubicBezTo>
                      <a:pt x="46" y="21"/>
                      <a:pt x="43" y="22"/>
                      <a:pt x="40" y="23"/>
                    </a:cubicBezTo>
                    <a:cubicBezTo>
                      <a:pt x="37" y="25"/>
                      <a:pt x="35" y="26"/>
                      <a:pt x="33" y="29"/>
                    </a:cubicBezTo>
                    <a:cubicBezTo>
                      <a:pt x="31" y="31"/>
                      <a:pt x="30" y="33"/>
                      <a:pt x="29" y="36"/>
                    </a:cubicBezTo>
                    <a:cubicBezTo>
                      <a:pt x="28" y="38"/>
                      <a:pt x="28" y="40"/>
                      <a:pt x="28" y="42"/>
                    </a:cubicBezTo>
                    <a:cubicBezTo>
                      <a:pt x="73" y="42"/>
                      <a:pt x="73" y="42"/>
                      <a:pt x="73" y="42"/>
                    </a:cubicBezTo>
                    <a:cubicBezTo>
                      <a:pt x="71" y="35"/>
                      <a:pt x="69" y="30"/>
                      <a:pt x="6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sp>
            <p:nvSpPr>
              <p:cNvPr id="79" name="Freeform 30"/>
              <p:cNvSpPr>
                <a:spLocks/>
              </p:cNvSpPr>
              <p:nvPr/>
            </p:nvSpPr>
            <p:spPr bwMode="auto">
              <a:xfrm>
                <a:off x="2043113" y="4678363"/>
                <a:ext cx="119063" cy="136525"/>
              </a:xfrm>
              <a:custGeom>
                <a:avLst/>
                <a:gdLst>
                  <a:gd name="T0" fmla="*/ 28 w 93"/>
                  <a:gd name="T1" fmla="*/ 78 h 106"/>
                  <a:gd name="T2" fmla="*/ 33 w 93"/>
                  <a:gd name="T3" fmla="*/ 83 h 106"/>
                  <a:gd name="T4" fmla="*/ 39 w 93"/>
                  <a:gd name="T5" fmla="*/ 86 h 106"/>
                  <a:gd name="T6" fmla="*/ 47 w 93"/>
                  <a:gd name="T7" fmla="*/ 87 h 106"/>
                  <a:gd name="T8" fmla="*/ 53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3 h 106"/>
                  <a:gd name="T26" fmla="*/ 2 w 93"/>
                  <a:gd name="T27" fmla="*/ 32 h 106"/>
                  <a:gd name="T28" fmla="*/ 6 w 93"/>
                  <a:gd name="T29" fmla="*/ 16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1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7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0 h 106"/>
                  <a:gd name="T90" fmla="*/ 26 w 93"/>
                  <a:gd name="T91" fmla="*/ 70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3"/>
                    </a:cubicBezTo>
                    <a:cubicBezTo>
                      <a:pt x="35" y="85"/>
                      <a:pt x="37" y="86"/>
                      <a:pt x="39" y="86"/>
                    </a:cubicBezTo>
                    <a:cubicBezTo>
                      <a:pt x="42" y="87"/>
                      <a:pt x="45" y="87"/>
                      <a:pt x="47" y="87"/>
                    </a:cubicBezTo>
                    <a:cubicBezTo>
                      <a:pt x="49" y="87"/>
                      <a:pt x="51" y="87"/>
                      <a:pt x="53" y="87"/>
                    </a:cubicBezTo>
                    <a:cubicBezTo>
                      <a:pt x="56" y="86"/>
                      <a:pt x="57" y="85"/>
                      <a:pt x="59" y="85"/>
                    </a:cubicBezTo>
                    <a:cubicBezTo>
                      <a:pt x="61" y="84"/>
                      <a:pt x="62" y="82"/>
                      <a:pt x="64" y="81"/>
                    </a:cubicBezTo>
                    <a:cubicBezTo>
                      <a:pt x="65" y="79"/>
                      <a:pt x="65" y="77"/>
                      <a:pt x="65" y="75"/>
                    </a:cubicBezTo>
                    <a:cubicBezTo>
                      <a:pt x="65" y="70"/>
                      <a:pt x="63" y="67"/>
                      <a:pt x="57" y="65"/>
                    </a:cubicBezTo>
                    <a:cubicBezTo>
                      <a:pt x="52" y="63"/>
                      <a:pt x="44" y="61"/>
                      <a:pt x="34" y="59"/>
                    </a:cubicBezTo>
                    <a:cubicBezTo>
                      <a:pt x="30" y="58"/>
                      <a:pt x="26" y="57"/>
                      <a:pt x="22" y="56"/>
                    </a:cubicBezTo>
                    <a:cubicBezTo>
                      <a:pt x="19" y="55"/>
                      <a:pt x="15" y="53"/>
                      <a:pt x="12" y="51"/>
                    </a:cubicBezTo>
                    <a:cubicBezTo>
                      <a:pt x="9" y="49"/>
                      <a:pt x="7" y="46"/>
                      <a:pt x="5" y="43"/>
                    </a:cubicBezTo>
                    <a:cubicBezTo>
                      <a:pt x="3" y="40"/>
                      <a:pt x="2" y="37"/>
                      <a:pt x="2" y="32"/>
                    </a:cubicBezTo>
                    <a:cubicBezTo>
                      <a:pt x="2" y="26"/>
                      <a:pt x="4" y="21"/>
                      <a:pt x="6" y="16"/>
                    </a:cubicBezTo>
                    <a:cubicBezTo>
                      <a:pt x="9" y="12"/>
                      <a:pt x="12" y="9"/>
                      <a:pt x="16" y="7"/>
                    </a:cubicBezTo>
                    <a:cubicBezTo>
                      <a:pt x="20" y="4"/>
                      <a:pt x="25" y="3"/>
                      <a:pt x="30" y="2"/>
                    </a:cubicBezTo>
                    <a:cubicBezTo>
                      <a:pt x="35" y="1"/>
                      <a:pt x="41" y="0"/>
                      <a:pt x="46" y="0"/>
                    </a:cubicBezTo>
                    <a:cubicBezTo>
                      <a:pt x="51" y="0"/>
                      <a:pt x="57" y="1"/>
                      <a:pt x="62" y="2"/>
                    </a:cubicBezTo>
                    <a:cubicBezTo>
                      <a:pt x="67" y="3"/>
                      <a:pt x="71" y="4"/>
                      <a:pt x="75" y="7"/>
                    </a:cubicBezTo>
                    <a:cubicBezTo>
                      <a:pt x="79" y="9"/>
                      <a:pt x="83" y="13"/>
                      <a:pt x="85" y="17"/>
                    </a:cubicBezTo>
                    <a:cubicBezTo>
                      <a:pt x="88" y="21"/>
                      <a:pt x="90" y="26"/>
                      <a:pt x="90" y="32"/>
                    </a:cubicBezTo>
                    <a:cubicBezTo>
                      <a:pt x="64" y="32"/>
                      <a:pt x="64" y="32"/>
                      <a:pt x="64" y="32"/>
                    </a:cubicBezTo>
                    <a:cubicBezTo>
                      <a:pt x="64" y="27"/>
                      <a:pt x="62" y="23"/>
                      <a:pt x="58" y="21"/>
                    </a:cubicBezTo>
                    <a:cubicBezTo>
                      <a:pt x="54" y="20"/>
                      <a:pt x="50" y="19"/>
                      <a:pt x="45" y="19"/>
                    </a:cubicBezTo>
                    <a:cubicBezTo>
                      <a:pt x="44" y="19"/>
                      <a:pt x="42" y="19"/>
                      <a:pt x="40" y="19"/>
                    </a:cubicBezTo>
                    <a:cubicBezTo>
                      <a:pt x="38" y="19"/>
                      <a:pt x="37" y="19"/>
                      <a:pt x="35" y="20"/>
                    </a:cubicBezTo>
                    <a:cubicBezTo>
                      <a:pt x="34" y="21"/>
                      <a:pt x="32" y="22"/>
                      <a:pt x="31" y="23"/>
                    </a:cubicBezTo>
                    <a:cubicBezTo>
                      <a:pt x="30" y="24"/>
                      <a:pt x="30" y="26"/>
                      <a:pt x="30" y="28"/>
                    </a:cubicBezTo>
                    <a:cubicBezTo>
                      <a:pt x="30" y="30"/>
                      <a:pt x="31" y="32"/>
                      <a:pt x="33" y="34"/>
                    </a:cubicBezTo>
                    <a:cubicBezTo>
                      <a:pt x="34" y="35"/>
                      <a:pt x="37" y="37"/>
                      <a:pt x="40" y="38"/>
                    </a:cubicBezTo>
                    <a:cubicBezTo>
                      <a:pt x="43" y="39"/>
                      <a:pt x="46" y="39"/>
                      <a:pt x="50" y="40"/>
                    </a:cubicBezTo>
                    <a:cubicBezTo>
                      <a:pt x="53" y="41"/>
                      <a:pt x="57" y="42"/>
                      <a:pt x="61" y="43"/>
                    </a:cubicBezTo>
                    <a:cubicBezTo>
                      <a:pt x="65" y="44"/>
                      <a:pt x="69" y="45"/>
                      <a:pt x="73" y="46"/>
                    </a:cubicBezTo>
                    <a:cubicBezTo>
                      <a:pt x="77" y="47"/>
                      <a:pt x="80" y="49"/>
                      <a:pt x="83" y="51"/>
                    </a:cubicBezTo>
                    <a:cubicBezTo>
                      <a:pt x="86" y="53"/>
                      <a:pt x="88" y="56"/>
                      <a:pt x="90" y="59"/>
                    </a:cubicBezTo>
                    <a:cubicBezTo>
                      <a:pt x="92" y="62"/>
                      <a:pt x="93" y="66"/>
                      <a:pt x="93" y="71"/>
                    </a:cubicBezTo>
                    <a:cubicBezTo>
                      <a:pt x="93" y="77"/>
                      <a:pt x="91" y="83"/>
                      <a:pt x="89" y="87"/>
                    </a:cubicBezTo>
                    <a:cubicBezTo>
                      <a:pt x="86" y="92"/>
                      <a:pt x="83" y="95"/>
                      <a:pt x="78" y="98"/>
                    </a:cubicBezTo>
                    <a:cubicBezTo>
                      <a:pt x="74" y="101"/>
                      <a:pt x="69" y="103"/>
                      <a:pt x="64" y="104"/>
                    </a:cubicBezTo>
                    <a:cubicBezTo>
                      <a:pt x="58" y="105"/>
                      <a:pt x="53" y="106"/>
                      <a:pt x="47" y="106"/>
                    </a:cubicBezTo>
                    <a:cubicBezTo>
                      <a:pt x="41" y="106"/>
                      <a:pt x="36" y="105"/>
                      <a:pt x="30" y="104"/>
                    </a:cubicBezTo>
                    <a:cubicBezTo>
                      <a:pt x="25" y="103"/>
                      <a:pt x="20" y="101"/>
                      <a:pt x="15" y="98"/>
                    </a:cubicBezTo>
                    <a:cubicBezTo>
                      <a:pt x="11" y="95"/>
                      <a:pt x="7" y="92"/>
                      <a:pt x="5" y="87"/>
                    </a:cubicBezTo>
                    <a:cubicBezTo>
                      <a:pt x="2" y="83"/>
                      <a:pt x="0" y="77"/>
                      <a:pt x="0" y="70"/>
                    </a:cubicBezTo>
                    <a:cubicBezTo>
                      <a:pt x="26" y="70"/>
                      <a:pt x="26" y="70"/>
                      <a:pt x="26" y="70"/>
                    </a:cubicBezTo>
                    <a:cubicBezTo>
                      <a:pt x="26" y="73"/>
                      <a:pt x="27" y="76"/>
                      <a:pt x="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0336" fontAlgn="base">
                  <a:spcBef>
                    <a:spcPct val="0"/>
                  </a:spcBef>
                  <a:spcAft>
                    <a:spcPct val="0"/>
                  </a:spcAft>
                </a:pPr>
                <a:endParaRPr lang="en-GB" sz="1867">
                  <a:solidFill>
                    <a:srgbClr val="FFFFFF"/>
                  </a:solidFill>
                  <a:ea typeface="ＭＳ Ｐゴシック" pitchFamily="34" charset="-128"/>
                </a:endParaRPr>
              </a:p>
            </p:txBody>
          </p:sp>
        </p:grpSp>
      </p:grpSp>
    </p:spTree>
    <p:extLst>
      <p:ext uri="{BB962C8B-B14F-4D97-AF65-F5344CB8AC3E}">
        <p14:creationId xmlns:p14="http://schemas.microsoft.com/office/powerpoint/2010/main" val="794787081"/>
      </p:ext>
    </p:extLst>
  </p:cSld>
  <p:clrMapOvr>
    <a:masterClrMapping/>
  </p:clrMapOvr>
  <p:transition spd="med">
    <p:fade/>
  </p:transition>
  <p:hf sldNum="0" hdr="0" ft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452969"/>
            <a:ext cx="11294532" cy="5507567"/>
          </a:xfrm>
        </p:spPr>
        <p:txBody>
          <a:bodyPr/>
          <a:lstStyle>
            <a:lvl1pPr>
              <a:lnSpc>
                <a:spcPct val="85000"/>
              </a:lnSpc>
              <a:spcAft>
                <a:spcPts val="0"/>
              </a:spcAft>
              <a:defRPr sz="4000">
                <a:solidFill>
                  <a:srgbClr val="FF6600"/>
                </a:solidFill>
                <a:latin typeface="Helvetica 75 Bold" panose="020B0804020202020204" pitchFamily="34" charset="0"/>
              </a:defRPr>
            </a:lvl1pPr>
            <a:lvl2pPr marL="535491" indent="-535491">
              <a:lnSpc>
                <a:spcPct val="85000"/>
              </a:lnSpc>
              <a:spcAft>
                <a:spcPts val="0"/>
              </a:spcAft>
              <a:buFont typeface="+mj-lt"/>
              <a:buAutoNum type="arabicPeriod"/>
              <a:defRPr sz="4000">
                <a:latin typeface="Helvetica 75 Bold" panose="020B0804020202020204" pitchFamily="34" charset="0"/>
              </a:defRPr>
            </a:lvl2pPr>
            <a:lvl3pPr marL="0" indent="0">
              <a:lnSpc>
                <a:spcPct val="85000"/>
              </a:lnSpc>
              <a:spcAft>
                <a:spcPts val="1067"/>
              </a:spcAft>
              <a:buFont typeface="+mj-lt"/>
              <a:buNone/>
              <a:defRPr sz="4000"/>
            </a:lvl3pPr>
            <a:lvl4pPr marL="0" indent="0">
              <a:lnSpc>
                <a:spcPct val="85000"/>
              </a:lnSpc>
              <a:spcAft>
                <a:spcPts val="1067"/>
              </a:spcAft>
              <a:buFont typeface="+mj-lt"/>
              <a:buNone/>
              <a:defRPr sz="4000"/>
            </a:lvl4pPr>
            <a:lvl5pPr marL="0" indent="0">
              <a:lnSpc>
                <a:spcPct val="85000"/>
              </a:lnSpc>
              <a:spcAft>
                <a:spcPts val="1067"/>
              </a:spcAft>
              <a:buFont typeface="+mj-lt"/>
              <a:buNone/>
              <a:defRPr sz="40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58540668"/>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452969"/>
            <a:ext cx="11294532" cy="5507567"/>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sz="1867">
                <a:latin typeface="Helvetica 75 Bold" panose="020B0804020202020204" pitchFamily="34" charset="0"/>
              </a:defRPr>
            </a:lvl2pPr>
            <a:lvl3pPr marL="0" indent="0">
              <a:lnSpc>
                <a:spcPct val="85000"/>
              </a:lnSpc>
              <a:spcAft>
                <a:spcPts val="1067"/>
              </a:spcAft>
              <a:buNone/>
              <a:defRPr sz="1600"/>
            </a:lvl3pPr>
            <a:lvl4pPr>
              <a:lnSpc>
                <a:spcPct val="85000"/>
              </a:lnSpc>
              <a:spcAft>
                <a:spcPts val="1067"/>
              </a:spcAft>
              <a:defRPr sz="7333"/>
            </a:lvl4pPr>
            <a:lvl5pPr>
              <a:lnSpc>
                <a:spcPct val="85000"/>
              </a:lnSpc>
              <a:spcAft>
                <a:spcPts val="1067"/>
              </a:spcAft>
              <a:defRPr sz="7333"/>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605277243"/>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8"/>
            <a:ext cx="11294533" cy="831851"/>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70" y="1739901"/>
            <a:ext cx="11294532" cy="4220633"/>
          </a:xfrm>
        </p:spPr>
        <p:txBody>
          <a:bodyPr/>
          <a:lstStyle>
            <a:lvl1pPr>
              <a:lnSpc>
                <a:spcPct val="90000"/>
              </a:lnSpc>
              <a:spcAft>
                <a:spcPts val="1067"/>
              </a:spcAft>
              <a:defRPr sz="1867">
                <a:solidFill>
                  <a:srgbClr val="FF6600"/>
                </a:solidFill>
                <a:latin typeface="Helvetica 75 Bold" panose="020B0804020202020204" pitchFamily="34" charset="0"/>
              </a:defRPr>
            </a:lvl1pPr>
            <a:lvl2pPr>
              <a:lnSpc>
                <a:spcPct val="90000"/>
              </a:lnSpc>
              <a:spcAft>
                <a:spcPts val="1067"/>
              </a:spcAft>
              <a:defRPr sz="1867">
                <a:latin typeface="Helvetica 75 Bold" panose="020B0804020202020204" pitchFamily="34" charset="0"/>
              </a:defRPr>
            </a:lvl2pPr>
            <a:lvl3pPr>
              <a:lnSpc>
                <a:spcPct val="90000"/>
              </a:lnSpc>
              <a:spcAft>
                <a:spcPts val="1067"/>
              </a:spcAft>
              <a:defRPr sz="1867">
                <a:latin typeface="Helvetica 75 Bold" panose="020B0804020202020204" pitchFamily="34" charset="0"/>
              </a:defRPr>
            </a:lvl3pPr>
            <a:lvl4pPr>
              <a:lnSpc>
                <a:spcPct val="90000"/>
              </a:lnSpc>
              <a:spcAft>
                <a:spcPts val="1067"/>
              </a:spcAft>
              <a:defRPr sz="1867">
                <a:latin typeface="Helvetica 75 Bold" panose="020B0804020202020204" pitchFamily="34" charset="0"/>
              </a:defRPr>
            </a:lvl4pPr>
            <a:lvl5pPr>
              <a:lnSpc>
                <a:spcPct val="90000"/>
              </a:lnSpc>
              <a:spcAft>
                <a:spcPts val="1067"/>
              </a:spcAft>
              <a:defRPr sz="1867">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076760009"/>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68" y="1739900"/>
            <a:ext cx="5420785" cy="4220632"/>
          </a:xfrm>
        </p:spPr>
        <p:txBody>
          <a:bodyPr/>
          <a:lstStyle>
            <a:lvl1pPr>
              <a:lnSpc>
                <a:spcPct val="90000"/>
              </a:lnSpc>
              <a:spcAft>
                <a:spcPts val="1067"/>
              </a:spcAft>
              <a:defRPr>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2"/>
          <p:cNvSpPr>
            <a:spLocks noGrp="1"/>
          </p:cNvSpPr>
          <p:nvPr>
            <p:ph idx="10"/>
          </p:nvPr>
        </p:nvSpPr>
        <p:spPr>
          <a:xfrm>
            <a:off x="6318253" y="1739900"/>
            <a:ext cx="5420785" cy="4220632"/>
          </a:xfrm>
        </p:spPr>
        <p:txBody>
          <a:bodyPr/>
          <a:lstStyle>
            <a:lvl1pPr>
              <a:lnSpc>
                <a:spcPct val="90000"/>
              </a:lnSpc>
              <a:spcAft>
                <a:spcPts val="1067"/>
              </a:spcAft>
              <a:defRPr>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9293987"/>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ire et message clé">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1739902"/>
            <a:ext cx="11294532" cy="4220633"/>
          </a:xfrm>
        </p:spPr>
        <p:txBody>
          <a:bodyPr/>
          <a:lstStyle>
            <a:lvl1pPr>
              <a:lnSpc>
                <a:spcPct val="85000"/>
              </a:lnSpc>
              <a:spcAft>
                <a:spcPts val="3200"/>
              </a:spcAft>
              <a:defRPr sz="400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le 1"/>
          <p:cNvSpPr>
            <a:spLocks noGrp="1"/>
          </p:cNvSpPr>
          <p:nvPr>
            <p:ph type="title"/>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Tree>
    <p:extLst>
      <p:ext uri="{BB962C8B-B14F-4D97-AF65-F5344CB8AC3E}">
        <p14:creationId xmlns:p14="http://schemas.microsoft.com/office/powerpoint/2010/main" val="2619039455"/>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Message clé">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452969"/>
            <a:ext cx="11294532" cy="5507567"/>
          </a:xfrm>
        </p:spPr>
        <p:txBody>
          <a:bodyPr/>
          <a:lstStyle>
            <a:lvl1pPr>
              <a:lnSpc>
                <a:spcPct val="85000"/>
              </a:lnSpc>
              <a:spcAft>
                <a:spcPts val="3200"/>
              </a:spcAft>
              <a:defRPr sz="400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38140339"/>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spcAft>
                <a:spcPts val="0"/>
              </a:spcAft>
              <a:defRPr>
                <a:solidFill>
                  <a:srgbClr val="FF6600"/>
                </a:solidFill>
                <a:latin typeface="Helvetica 75 Bold" panose="020B0804020202020204" pitchFamily="34" charset="0"/>
              </a:defRPr>
            </a:lvl1pPr>
          </a:lstStyle>
          <a:p>
            <a:r>
              <a:rPr lang="fr-FR"/>
              <a:t>Modifiez le style du titre</a:t>
            </a:r>
            <a:endParaRPr lang="en-US"/>
          </a:p>
        </p:txBody>
      </p:sp>
    </p:spTree>
    <p:extLst>
      <p:ext uri="{BB962C8B-B14F-4D97-AF65-F5344CB8AC3E}">
        <p14:creationId xmlns:p14="http://schemas.microsoft.com/office/powerpoint/2010/main" val="110029444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ire et message clé">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1739902"/>
            <a:ext cx="11294532" cy="4220633"/>
          </a:xfrm>
        </p:spPr>
        <p:txBody>
          <a:bodyPr/>
          <a:lstStyle>
            <a:lvl1pPr>
              <a:lnSpc>
                <a:spcPct val="85000"/>
              </a:lnSpc>
              <a:spcAft>
                <a:spcPts val="3200"/>
              </a:spcAft>
              <a:defRPr sz="400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le 1"/>
          <p:cNvSpPr>
            <a:spLocks noGrp="1"/>
          </p:cNvSpPr>
          <p:nvPr>
            <p:ph type="title"/>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Tree>
    <p:extLst>
      <p:ext uri="{BB962C8B-B14F-4D97-AF65-F5344CB8AC3E}">
        <p14:creationId xmlns:p14="http://schemas.microsoft.com/office/powerpoint/2010/main" val="3282562421"/>
      </p:ext>
    </p:extLst>
  </p:cSld>
  <p:clrMapOvr>
    <a:masterClrMapping/>
  </p:clrMapOvr>
  <p:transition spd="med">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532444"/>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asic-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fr-FR" noProof="0" dirty="0"/>
              <a:t>Modifiez le titre</a:t>
            </a:r>
          </a:p>
        </p:txBody>
      </p:sp>
      <p:sp>
        <p:nvSpPr>
          <p:cNvPr id="3" name="Content Placeholder 2"/>
          <p:cNvSpPr>
            <a:spLocks noGrp="1"/>
          </p:cNvSpPr>
          <p:nvPr>
            <p:ph idx="1" hasCustomPrompt="1"/>
          </p:nvPr>
        </p:nvSpPr>
        <p:spPr>
          <a:xfrm>
            <a:off x="419101" y="1574801"/>
            <a:ext cx="11353800" cy="4493683"/>
          </a:xfrm>
        </p:spPr>
        <p:txBody>
          <a:bodyPr/>
          <a:lstStyle>
            <a:lvl1pPr>
              <a:defRPr baseline="0"/>
            </a:lvl1pPr>
            <a:lvl2pPr>
              <a:defRPr>
                <a:solidFill>
                  <a:schemeClr val="tx1"/>
                </a:solidFill>
              </a:defRPr>
            </a:lvl2pPr>
            <a:lvl3pPr>
              <a:defRPr>
                <a:solidFill>
                  <a:schemeClr val="tx1"/>
                </a:solidFill>
              </a:defRPr>
            </a:lvl3pPr>
            <a:lvl4pPr>
              <a:defRPr baseline="0">
                <a:solidFill>
                  <a:schemeClr val="tx1"/>
                </a:solidFill>
              </a:defRPr>
            </a:lvl4pPr>
            <a:lvl5pPr>
              <a:defRPr>
                <a:solidFill>
                  <a:schemeClr val="tx1"/>
                </a:solidFill>
              </a:defRPr>
            </a:lvl5pPr>
            <a:lvl6pPr>
              <a:defRPr/>
            </a:lvl6pPr>
          </a:lstStyle>
          <a:p>
            <a:pPr lvl="0"/>
            <a:r>
              <a:rPr lang="fr-FR" noProof="0" dirty="0"/>
              <a:t>Cliquez pour saisi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extBox 3"/>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102968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intr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8047" y="356825"/>
            <a:ext cx="6926092" cy="3805540"/>
          </a:xfrm>
        </p:spPr>
        <p:txBody>
          <a:bodyPr>
            <a:noAutofit/>
          </a:bodyPr>
          <a:lstStyle>
            <a:lvl1pPr algn="l">
              <a:lnSpc>
                <a:spcPct val="85000"/>
              </a:lnSpc>
              <a:defRPr sz="5333" baseline="0">
                <a:solidFill>
                  <a:schemeClr val="tx1"/>
                </a:solidFill>
              </a:defRPr>
            </a:lvl1pPr>
          </a:lstStyle>
          <a:p>
            <a:r>
              <a:rPr lang="fr-FR" noProof="0" dirty="0"/>
              <a:t>Modifiez le texte du masque</a:t>
            </a:r>
          </a:p>
        </p:txBody>
      </p:sp>
      <p:sp>
        <p:nvSpPr>
          <p:cNvPr id="17" name="Text Placeholder 17"/>
          <p:cNvSpPr>
            <a:spLocks noGrp="1"/>
          </p:cNvSpPr>
          <p:nvPr>
            <p:ph type="body" sz="quarter" idx="16" hasCustomPrompt="1"/>
          </p:nvPr>
        </p:nvSpPr>
        <p:spPr>
          <a:xfrm>
            <a:off x="7734301" y="355602"/>
            <a:ext cx="4038600" cy="4867213"/>
          </a:xfrm>
        </p:spPr>
        <p:txBody>
          <a:bodyPr/>
          <a:lstStyle>
            <a:lvl1pPr>
              <a:defRPr baseline="0"/>
            </a:lvl1pPr>
            <a:lvl2pPr>
              <a:defRPr/>
            </a:lvl2pPr>
          </a:lstStyle>
          <a:p>
            <a:pPr lvl="0"/>
            <a:r>
              <a:rPr lang="fr-FR" noProof="0" dirty="0"/>
              <a:t>Modifiez le texte</a:t>
            </a:r>
          </a:p>
          <a:p>
            <a:pPr lvl="1"/>
            <a:r>
              <a:rPr lang="fr-FR" noProof="0" dirty="0"/>
              <a:t>Deuxième niveau</a:t>
            </a:r>
          </a:p>
        </p:txBody>
      </p:sp>
      <p:sp>
        <p:nvSpPr>
          <p:cNvPr id="16" name="Subtitle 2"/>
          <p:cNvSpPr>
            <a:spLocks noGrp="1"/>
          </p:cNvSpPr>
          <p:nvPr>
            <p:ph type="subTitle" idx="1" hasCustomPrompt="1"/>
          </p:nvPr>
        </p:nvSpPr>
        <p:spPr>
          <a:xfrm>
            <a:off x="419101" y="4350747"/>
            <a:ext cx="6925039" cy="87206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dirty="0"/>
              <a:t>Cliquez pour indiquer le nom du présentateur</a:t>
            </a:r>
          </a:p>
        </p:txBody>
      </p:sp>
      <p:grpSp>
        <p:nvGrpSpPr>
          <p:cNvPr id="3" name="Group 2" descr="Orange logo"/>
          <p:cNvGrpSpPr/>
          <p:nvPr/>
        </p:nvGrpSpPr>
        <p:grpSpPr>
          <a:xfrm>
            <a:off x="418048" y="5645152"/>
            <a:ext cx="817033" cy="817033"/>
            <a:chOff x="313535" y="4233863"/>
            <a:chExt cx="612775" cy="612775"/>
          </a:xfrm>
        </p:grpSpPr>
        <p:sp>
          <p:nvSpPr>
            <p:cNvPr id="50" name="Rectangle 5"/>
            <p:cNvSpPr>
              <a:spLocks noChangeArrowheads="1"/>
            </p:cNvSpPr>
            <p:nvPr/>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1" name="Freeform 6"/>
            <p:cNvSpPr>
              <a:spLocks noEditPoints="1"/>
            </p:cNvSpPr>
            <p:nvPr/>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2" name="Freeform 7"/>
            <p:cNvSpPr>
              <a:spLocks/>
            </p:cNvSpPr>
            <p:nvPr/>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3" name="Freeform 8"/>
            <p:cNvSpPr>
              <a:spLocks noEditPoints="1"/>
            </p:cNvSpPr>
            <p:nvPr/>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4" name="Freeform 9"/>
            <p:cNvSpPr>
              <a:spLocks noEditPoints="1"/>
            </p:cNvSpPr>
            <p:nvPr/>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5" name="Freeform 10"/>
            <p:cNvSpPr>
              <a:spLocks/>
            </p:cNvSpPr>
            <p:nvPr/>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6" name="Freeform 11"/>
            <p:cNvSpPr>
              <a:spLocks noEditPoints="1"/>
            </p:cNvSpPr>
            <p:nvPr/>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sp>
          <p:nvSpPr>
            <p:cNvPr id="57" name="Freeform 12"/>
            <p:cNvSpPr>
              <a:spLocks noEditPoints="1"/>
            </p:cNvSpPr>
            <p:nvPr/>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noProof="0" dirty="0"/>
            </a:p>
          </p:txBody>
        </p:sp>
      </p:grpSp>
      <p:sp>
        <p:nvSpPr>
          <p:cNvPr id="4" name="Subtitle 2">
            <a:extLst>
              <a:ext uri="{FF2B5EF4-FFF2-40B4-BE49-F238E27FC236}">
                <a16:creationId xmlns:a16="http://schemas.microsoft.com/office/drawing/2014/main" id="{9F87BB81-9EF2-192C-422D-1E2EF5826972}"/>
              </a:ext>
            </a:extLst>
          </p:cNvPr>
          <p:cNvSpPr txBox="1">
            <a:spLocks/>
          </p:cNvSpPr>
          <p:nvPr/>
        </p:nvSpPr>
        <p:spPr>
          <a:xfrm>
            <a:off x="9744405" y="5882836"/>
            <a:ext cx="2112235" cy="511616"/>
          </a:xfrm>
          <a:prstGeom prst="rect">
            <a:avLst/>
          </a:prstGeom>
        </p:spPr>
        <p:txBody>
          <a:bodyPr vert="horz" wrap="square" lIns="0" tIns="0" rIns="0" bIns="0" rtlCol="0">
            <a:noAutofit/>
          </a:bodyP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tx1"/>
                </a:solidFill>
                <a:latin typeface="Helvetica 75 Bold" panose="020B0804020202020204" pitchFamily="34" charset="0"/>
                <a:ea typeface="+mn-ea"/>
                <a:cs typeface="+mn-cs"/>
              </a:defRPr>
            </a:lvl1pPr>
            <a:lvl2pPr marL="180975" indent="-180975" algn="l" defTabSz="914400" rtl="0" eaLnBrk="1" latinLnBrk="0" hangingPunct="1">
              <a:lnSpc>
                <a:spcPct val="90000"/>
              </a:lnSpc>
              <a:spcBef>
                <a:spcPts val="600"/>
              </a:spcBef>
              <a:buClr>
                <a:schemeClr val="bg2"/>
              </a:buClr>
              <a:buSzPct val="100000"/>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2pPr>
            <a:lvl3pPr marL="406800" indent="-190800" algn="l" defTabSz="914400" rtl="0" eaLnBrk="1" latinLnBrk="0" hangingPunct="1">
              <a:lnSpc>
                <a:spcPct val="90000"/>
              </a:lnSpc>
              <a:spcBef>
                <a:spcPts val="336"/>
              </a:spcBef>
              <a:buClrTx/>
              <a:buFont typeface="Helvetica 55 Roman" panose="020B0604020202020204" pitchFamily="34" charset="0"/>
              <a:buChar char="–"/>
              <a:defRPr sz="1400" kern="1200" spc="-20" baseline="0">
                <a:solidFill>
                  <a:schemeClr val="tx1"/>
                </a:solidFill>
                <a:latin typeface="Helvetica 55 Roman" panose="020B0604020202020204" pitchFamily="34" charset="0"/>
                <a:ea typeface="+mn-ea"/>
                <a:cs typeface="+mn-cs"/>
              </a:defRPr>
            </a:lvl3pPr>
            <a:lvl4pPr marL="594000" indent="-172800" algn="l" defTabSz="914400" rtl="0" eaLnBrk="1" latinLnBrk="0" hangingPunct="1">
              <a:lnSpc>
                <a:spcPct val="90000"/>
              </a:lnSpc>
              <a:spcBef>
                <a:spcPts val="24"/>
              </a:spcBef>
              <a:buFont typeface="Helvetica 55 Roman"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799200" indent="-190800" algn="l" defTabSz="914400" rtl="0" eaLnBrk="1" latinLnBrk="0" hangingPunct="1">
              <a:lnSpc>
                <a:spcPct val="90000"/>
              </a:lnSpc>
              <a:spcBef>
                <a:spcPct val="20000"/>
              </a:spcBef>
              <a:buClr>
                <a:schemeClr val="tx1"/>
              </a:buClr>
              <a:buFont typeface="Helvetica 55 Roman"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2286000" indent="0" algn="ctr" defTabSz="914400" rtl="0" eaLnBrk="1" latinLnBrk="0" hangingPunct="1">
              <a:spcBef>
                <a:spcPct val="20000"/>
              </a:spcBef>
              <a:buFont typeface="Arial" panose="020B0604020202020204" pitchFamily="34" charset="0"/>
              <a:buNone/>
              <a:defRPr sz="1400" kern="1200">
                <a:solidFill>
                  <a:schemeClr val="tx1">
                    <a:tint val="75000"/>
                  </a:schemeClr>
                </a:solidFill>
                <a:latin typeface="Helvetica 55 Roman" panose="020B0604020202020204" pitchFamily="34" charset="0"/>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ct val="100000"/>
              </a:lnSpc>
              <a:spcBef>
                <a:spcPts val="133"/>
              </a:spcBef>
            </a:pPr>
            <a:r>
              <a:rPr lang="fr-FR" sz="1333" dirty="0"/>
              <a:t>Généré par IA avec l’outil</a:t>
            </a:r>
          </a:p>
          <a:p>
            <a:pPr>
              <a:lnSpc>
                <a:spcPct val="100000"/>
              </a:lnSpc>
              <a:spcBef>
                <a:spcPts val="133"/>
              </a:spcBef>
            </a:pPr>
            <a:r>
              <a:rPr lang="fr-FR" sz="1333" dirty="0" err="1"/>
              <a:t>Dinootoo</a:t>
            </a:r>
            <a:r>
              <a:rPr lang="fr-FR" sz="1333" dirty="0"/>
              <a:t> PPTX </a:t>
            </a:r>
            <a:r>
              <a:rPr lang="fr-FR" sz="1333" dirty="0" err="1"/>
              <a:t>Generator</a:t>
            </a:r>
            <a:endParaRPr lang="fr-FR" sz="1333" dirty="0"/>
          </a:p>
        </p:txBody>
      </p:sp>
      <p:pic>
        <p:nvPicPr>
          <p:cNvPr id="5" name="Graphique 4">
            <a:extLst>
              <a:ext uri="{FF2B5EF4-FFF2-40B4-BE49-F238E27FC236}">
                <a16:creationId xmlns:a16="http://schemas.microsoft.com/office/drawing/2014/main" id="{9D80DA9B-5B8C-59FD-CF9F-13A47BE65AF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16175" y="5867743"/>
            <a:ext cx="447168" cy="447168"/>
          </a:xfrm>
          <a:prstGeom prst="rect">
            <a:avLst/>
          </a:prstGeom>
        </p:spPr>
      </p:pic>
    </p:spTree>
    <p:extLst>
      <p:ext uri="{BB962C8B-B14F-4D97-AF65-F5344CB8AC3E}">
        <p14:creationId xmlns:p14="http://schemas.microsoft.com/office/powerpoint/2010/main" val="24450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able-of-conten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B98DB4-2268-274F-BD9C-8935AF268680}"/>
              </a:ext>
            </a:extLst>
          </p:cNvPr>
          <p:cNvSpPr>
            <a:spLocks noGrp="1"/>
          </p:cNvSpPr>
          <p:nvPr>
            <p:ph type="title"/>
          </p:nvPr>
        </p:nvSpPr>
        <p:spPr>
          <a:xfrm>
            <a:off x="417601" y="361658"/>
            <a:ext cx="11355300" cy="571065"/>
          </a:xfrm>
        </p:spPr>
        <p:txBody>
          <a:bodyPr/>
          <a:lstStyle>
            <a:lvl1pPr>
              <a:defRPr sz="4000">
                <a:solidFill>
                  <a:schemeClr val="bg2"/>
                </a:solidFill>
              </a:defRPr>
            </a:lvl1pPr>
          </a:lstStyle>
          <a:p>
            <a:r>
              <a:rPr lang="fr-FR"/>
              <a:t>Modifiez le style du titre</a:t>
            </a:r>
            <a:endParaRPr lang="en-GB" dirty="0"/>
          </a:p>
        </p:txBody>
      </p:sp>
      <p:sp>
        <p:nvSpPr>
          <p:cNvPr id="5" name="Content Placeholder 2"/>
          <p:cNvSpPr>
            <a:spLocks noGrp="1"/>
          </p:cNvSpPr>
          <p:nvPr>
            <p:ph idx="1" hasCustomPrompt="1"/>
          </p:nvPr>
        </p:nvSpPr>
        <p:spPr>
          <a:xfrm>
            <a:off x="419102" y="1220756"/>
            <a:ext cx="11353799" cy="4896544"/>
          </a:xfrm>
        </p:spPr>
        <p:txBody>
          <a:bodyPr/>
          <a:lstStyle>
            <a:lvl1pPr>
              <a:spcBef>
                <a:spcPts val="0"/>
              </a:spcBef>
              <a:defRPr sz="4000" baseline="0">
                <a:solidFill>
                  <a:schemeClr val="tx1"/>
                </a:solidFill>
              </a:defRPr>
            </a:lvl1pPr>
            <a:lvl2pPr marL="482588" indent="-482588">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z le texte</a:t>
            </a:r>
          </a:p>
          <a:p>
            <a:pPr lvl="1"/>
            <a:r>
              <a:rPr lang="fr-FR" noProof="0" dirty="0"/>
              <a:t>Deuxième niveau</a:t>
            </a:r>
          </a:p>
        </p:txBody>
      </p:sp>
      <p:sp>
        <p:nvSpPr>
          <p:cNvPr id="3" name="TextBox 3">
            <a:extLst>
              <a:ext uri="{FF2B5EF4-FFF2-40B4-BE49-F238E27FC236}">
                <a16:creationId xmlns:a16="http://schemas.microsoft.com/office/drawing/2014/main" id="{66B5362A-0CE2-E38E-8A28-C326152EF09E}"/>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26956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tit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FD4D3E-B8A0-E913-CB17-3B741EDE09FD}"/>
              </a:ext>
            </a:extLst>
          </p:cNvPr>
          <p:cNvSpPr>
            <a:spLocks noGrp="1"/>
          </p:cNvSpPr>
          <p:nvPr>
            <p:ph type="title"/>
          </p:nvPr>
        </p:nvSpPr>
        <p:spPr>
          <a:xfrm>
            <a:off x="418357" y="368510"/>
            <a:ext cx="7117803" cy="5710765"/>
          </a:xfrm>
        </p:spPr>
        <p:txBody>
          <a:bodyPr/>
          <a:lstStyle>
            <a:lvl1pPr>
              <a:defRPr sz="7333">
                <a:solidFill>
                  <a:schemeClr val="bg2"/>
                </a:solidFill>
              </a:defRPr>
            </a:lvl1pPr>
          </a:lstStyle>
          <a:p>
            <a:r>
              <a:rPr lang="fr-FR"/>
              <a:t>Modifiez le style du titre</a:t>
            </a:r>
            <a:endParaRPr lang="en-GB"/>
          </a:p>
        </p:txBody>
      </p:sp>
      <p:sp>
        <p:nvSpPr>
          <p:cNvPr id="3" name="TextBox 3">
            <a:extLst>
              <a:ext uri="{FF2B5EF4-FFF2-40B4-BE49-F238E27FC236}">
                <a16:creationId xmlns:a16="http://schemas.microsoft.com/office/drawing/2014/main" id="{474DD10F-4B3B-778C-8C8E-DC1D752675A7}"/>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
        <p:nvSpPr>
          <p:cNvPr id="7" name="Espace réservé pour une image  6">
            <a:extLst>
              <a:ext uri="{FF2B5EF4-FFF2-40B4-BE49-F238E27FC236}">
                <a16:creationId xmlns:a16="http://schemas.microsoft.com/office/drawing/2014/main" id="{34CD54C1-27F0-7A6E-53CF-9E7AD966D087}"/>
              </a:ext>
            </a:extLst>
          </p:cNvPr>
          <p:cNvSpPr>
            <a:spLocks noGrp="1"/>
          </p:cNvSpPr>
          <p:nvPr>
            <p:ph type="pic" sz="quarter" idx="10"/>
          </p:nvPr>
        </p:nvSpPr>
        <p:spPr>
          <a:xfrm>
            <a:off x="7727952" y="368300"/>
            <a:ext cx="4032249" cy="5710765"/>
          </a:xfrm>
        </p:spPr>
        <p:txBody>
          <a:bodyPr/>
          <a:lstStyle/>
          <a:p>
            <a:r>
              <a:rPr lang="fr-FR"/>
              <a:t>Cliquez sur l'icône pour ajouter une image</a:t>
            </a:r>
            <a:endParaRPr lang="en-GB"/>
          </a:p>
        </p:txBody>
      </p:sp>
    </p:spTree>
    <p:extLst>
      <p:ext uri="{BB962C8B-B14F-4D97-AF65-F5344CB8AC3E}">
        <p14:creationId xmlns:p14="http://schemas.microsoft.com/office/powerpoint/2010/main" val="417314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and-picture-right">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7599" y="357717"/>
            <a:ext cx="5290740" cy="988483"/>
          </a:xfrm>
        </p:spPr>
        <p:txBody>
          <a:bodyPr/>
          <a:lstStyle>
            <a:lvl1pPr>
              <a:defRPr baseline="0"/>
            </a:lvl1pPr>
          </a:lstStyle>
          <a:p>
            <a:r>
              <a:rPr lang="fr-FR" noProof="0" dirty="0"/>
              <a:t>Cliquez pour modifiez le titre</a:t>
            </a:r>
          </a:p>
        </p:txBody>
      </p:sp>
      <p:sp>
        <p:nvSpPr>
          <p:cNvPr id="3" name="Content Placeholder 2"/>
          <p:cNvSpPr>
            <a:spLocks noGrp="1"/>
          </p:cNvSpPr>
          <p:nvPr>
            <p:ph sz="half" idx="1" hasCustomPrompt="1"/>
          </p:nvPr>
        </p:nvSpPr>
        <p:spPr>
          <a:xfrm>
            <a:off x="417601" y="1574800"/>
            <a:ext cx="5290740"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Modifiez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8" name="Espace réservé pour une image  7">
            <a:extLst>
              <a:ext uri="{FF2B5EF4-FFF2-40B4-BE49-F238E27FC236}">
                <a16:creationId xmlns:a16="http://schemas.microsoft.com/office/drawing/2014/main" id="{BB359DFB-F8A4-357F-FDCB-AC061C613A2C}"/>
              </a:ext>
              <a:ext uri="{C183D7F6-B498-43B3-948B-1728B52AA6E4}">
                <adec:decorative xmlns:adec="http://schemas.microsoft.com/office/drawing/2017/decorative" val="1"/>
              </a:ext>
            </a:extLst>
          </p:cNvPr>
          <p:cNvSpPr>
            <a:spLocks noGrp="1"/>
          </p:cNvSpPr>
          <p:nvPr>
            <p:ph type="pic" sz="quarter" idx="10"/>
          </p:nvPr>
        </p:nvSpPr>
        <p:spPr>
          <a:xfrm>
            <a:off x="6095248" y="0"/>
            <a:ext cx="6096000" cy="6858000"/>
          </a:xfrm>
        </p:spPr>
        <p:txBody>
          <a:bodyPr/>
          <a:lstStyle/>
          <a:p>
            <a:r>
              <a:rPr lang="fr-FR"/>
              <a:t>Cliquez sur l'icône pour ajouter une image</a:t>
            </a:r>
            <a:endParaRPr lang="en-GB"/>
          </a:p>
        </p:txBody>
      </p:sp>
      <p:sp>
        <p:nvSpPr>
          <p:cNvPr id="2" name="TextBox 3">
            <a:extLst>
              <a:ext uri="{FF2B5EF4-FFF2-40B4-BE49-F238E27FC236}">
                <a16:creationId xmlns:a16="http://schemas.microsoft.com/office/drawing/2014/main" id="{C1AAC23B-94F2-77AE-97D0-1F4B206C76A3}"/>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131267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and-picture-left">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685637" y="356659"/>
            <a:ext cx="7085145" cy="988483"/>
          </a:xfrm>
        </p:spPr>
        <p:txBody>
          <a:bodyPr/>
          <a:lstStyle>
            <a:lvl1pPr>
              <a:defRPr baseline="0"/>
            </a:lvl1pPr>
          </a:lstStyle>
          <a:p>
            <a:r>
              <a:rPr lang="fr-FR" noProof="0" dirty="0"/>
              <a:t>Cliquez pour modifiez le titre</a:t>
            </a:r>
          </a:p>
        </p:txBody>
      </p:sp>
      <p:sp>
        <p:nvSpPr>
          <p:cNvPr id="3" name="Content Placeholder 2"/>
          <p:cNvSpPr>
            <a:spLocks noGrp="1"/>
          </p:cNvSpPr>
          <p:nvPr>
            <p:ph sz="half" idx="1" hasCustomPrompt="1"/>
          </p:nvPr>
        </p:nvSpPr>
        <p:spPr>
          <a:xfrm>
            <a:off x="4685637" y="1604797"/>
            <a:ext cx="7085144"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Modifiez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8" name="Espace réservé pour une image  7">
            <a:extLst>
              <a:ext uri="{FF2B5EF4-FFF2-40B4-BE49-F238E27FC236}">
                <a16:creationId xmlns:a16="http://schemas.microsoft.com/office/drawing/2014/main" id="{BB359DFB-F8A4-357F-FDCB-AC061C613A2C}"/>
              </a:ext>
              <a:ext uri="{C183D7F6-B498-43B3-948B-1728B52AA6E4}">
                <adec:decorative xmlns:adec="http://schemas.microsoft.com/office/drawing/2017/decorative" val="1"/>
              </a:ext>
            </a:extLst>
          </p:cNvPr>
          <p:cNvSpPr>
            <a:spLocks noGrp="1"/>
          </p:cNvSpPr>
          <p:nvPr>
            <p:ph type="pic" sz="quarter" idx="10"/>
          </p:nvPr>
        </p:nvSpPr>
        <p:spPr>
          <a:xfrm>
            <a:off x="0" y="0"/>
            <a:ext cx="4175787" cy="6858000"/>
          </a:xfrm>
        </p:spPr>
        <p:txBody>
          <a:bodyPr/>
          <a:lstStyle/>
          <a:p>
            <a:r>
              <a:rPr lang="fr-FR"/>
              <a:t>Cliquez sur l'icône pour ajouter une image</a:t>
            </a:r>
            <a:endParaRPr lang="en-GB"/>
          </a:p>
        </p:txBody>
      </p:sp>
      <p:sp>
        <p:nvSpPr>
          <p:cNvPr id="2" name="TextBox 3">
            <a:extLst>
              <a:ext uri="{FF2B5EF4-FFF2-40B4-BE49-F238E27FC236}">
                <a16:creationId xmlns:a16="http://schemas.microsoft.com/office/drawing/2014/main" id="{C1AAC23B-94F2-77AE-97D0-1F4B206C76A3}"/>
              </a:ext>
            </a:extLst>
          </p:cNvPr>
          <p:cNvSpPr txBox="1"/>
          <p:nvPr/>
        </p:nvSpPr>
        <p:spPr>
          <a:xfrm>
            <a:off x="4664324" y="6337194"/>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1142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xt-and-graph">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7599" y="357717"/>
            <a:ext cx="11343031" cy="988483"/>
          </a:xfrm>
        </p:spPr>
        <p:txBody>
          <a:bodyPr/>
          <a:lstStyle>
            <a:lvl1pPr>
              <a:defRPr baseline="0"/>
            </a:lvl1pPr>
          </a:lstStyle>
          <a:p>
            <a:r>
              <a:rPr lang="fr-FR" noProof="0" dirty="0"/>
              <a:t>Cliquez pour modifiez le titre</a:t>
            </a:r>
          </a:p>
        </p:txBody>
      </p:sp>
      <p:sp>
        <p:nvSpPr>
          <p:cNvPr id="3" name="Content Placeholder 2"/>
          <p:cNvSpPr>
            <a:spLocks noGrp="1"/>
          </p:cNvSpPr>
          <p:nvPr>
            <p:ph sz="half" idx="1" hasCustomPrompt="1"/>
          </p:nvPr>
        </p:nvSpPr>
        <p:spPr>
          <a:xfrm>
            <a:off x="417601" y="1574800"/>
            <a:ext cx="5290740"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Modifiez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Espace réservé du graphique 3" descr="Illustrative graph">
            <a:extLst>
              <a:ext uri="{FF2B5EF4-FFF2-40B4-BE49-F238E27FC236}">
                <a16:creationId xmlns:a16="http://schemas.microsoft.com/office/drawing/2014/main" id="{224BDC51-D6E7-FA4D-BA69-12400CD5E11A}"/>
              </a:ext>
            </a:extLst>
          </p:cNvPr>
          <p:cNvSpPr>
            <a:spLocks noGrp="1"/>
          </p:cNvSpPr>
          <p:nvPr>
            <p:ph type="chart" sz="quarter" idx="11"/>
          </p:nvPr>
        </p:nvSpPr>
        <p:spPr>
          <a:xfrm>
            <a:off x="6085416" y="1574800"/>
            <a:ext cx="5675213" cy="4493683"/>
          </a:xfrm>
        </p:spPr>
        <p:txBody>
          <a:bodyPr/>
          <a:lstStyle/>
          <a:p>
            <a:r>
              <a:rPr lang="fr-FR"/>
              <a:t>Cliquez sur l'icône pour ajouter un graphique</a:t>
            </a:r>
            <a:endParaRPr lang="en-GB"/>
          </a:p>
        </p:txBody>
      </p:sp>
      <p:sp>
        <p:nvSpPr>
          <p:cNvPr id="2" name="TextBox 3">
            <a:extLst>
              <a:ext uri="{FF2B5EF4-FFF2-40B4-BE49-F238E27FC236}">
                <a16:creationId xmlns:a16="http://schemas.microsoft.com/office/drawing/2014/main" id="{87826DD1-8372-DBF4-1F15-9738372BEBB2}"/>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366891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mosai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FD4D3E-B8A0-E913-CB17-3B741EDE09FD}"/>
              </a:ext>
            </a:extLst>
          </p:cNvPr>
          <p:cNvSpPr>
            <a:spLocks noGrp="1"/>
          </p:cNvSpPr>
          <p:nvPr>
            <p:ph type="title"/>
          </p:nvPr>
        </p:nvSpPr>
        <p:spPr>
          <a:xfrm>
            <a:off x="418357" y="368510"/>
            <a:ext cx="5389611" cy="2868469"/>
          </a:xfrm>
        </p:spPr>
        <p:txBody>
          <a:bodyPr/>
          <a:lstStyle>
            <a:lvl1pPr>
              <a:defRPr sz="5333">
                <a:solidFill>
                  <a:schemeClr val="tx1"/>
                </a:solidFill>
              </a:defRPr>
            </a:lvl1pPr>
          </a:lstStyle>
          <a:p>
            <a:r>
              <a:rPr lang="fr-FR"/>
              <a:t>Modifiez le style du titre</a:t>
            </a:r>
            <a:endParaRPr lang="en-GB" dirty="0"/>
          </a:p>
        </p:txBody>
      </p:sp>
      <p:sp>
        <p:nvSpPr>
          <p:cNvPr id="5" name="Rectangle 4">
            <a:extLst>
              <a:ext uri="{FF2B5EF4-FFF2-40B4-BE49-F238E27FC236}">
                <a16:creationId xmlns:a16="http://schemas.microsoft.com/office/drawing/2014/main" id="{9D178F16-A66C-6A41-4EC3-D09EDF9229EA}"/>
              </a:ext>
              <a:ext uri="{C183D7F6-B498-43B3-948B-1728B52AA6E4}">
                <adec:decorative xmlns:adec="http://schemas.microsoft.com/office/drawing/2017/decorative" val="1"/>
              </a:ext>
            </a:extLst>
          </p:cNvPr>
          <p:cNvSpPr/>
          <p:nvPr/>
        </p:nvSpPr>
        <p:spPr>
          <a:xfrm>
            <a:off x="0" y="3426000"/>
            <a:ext cx="3048000" cy="3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133" b="0" i="0" u="none" strike="noStrike" kern="1200" cap="none" spc="0" normalizeH="0" baseline="0" noProof="0" dirty="0">
              <a:ln>
                <a:noFill/>
              </a:ln>
              <a:solidFill>
                <a:srgbClr val="000000"/>
              </a:solidFill>
              <a:effectLst/>
              <a:uLnTx/>
              <a:uFillTx/>
              <a:latin typeface="Helvetica 75 Bold"/>
              <a:ea typeface="+mn-ea"/>
              <a:cs typeface="+mn-cs"/>
            </a:endParaRPr>
          </a:p>
        </p:txBody>
      </p:sp>
      <p:sp>
        <p:nvSpPr>
          <p:cNvPr id="4" name="Rectangle 3">
            <a:extLst>
              <a:ext uri="{FF2B5EF4-FFF2-40B4-BE49-F238E27FC236}">
                <a16:creationId xmlns:a16="http://schemas.microsoft.com/office/drawing/2014/main" id="{9CD148CD-B8B6-E9C5-FA6C-FC402C624030}"/>
              </a:ext>
              <a:ext uri="{C183D7F6-B498-43B3-948B-1728B52AA6E4}">
                <adec:decorative xmlns:adec="http://schemas.microsoft.com/office/drawing/2017/decorative" val="1"/>
              </a:ext>
            </a:extLst>
          </p:cNvPr>
          <p:cNvSpPr/>
          <p:nvPr/>
        </p:nvSpPr>
        <p:spPr>
          <a:xfrm>
            <a:off x="3025011" y="3426000"/>
            <a:ext cx="3070988" cy="343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133" b="0" i="0" u="none" strike="noStrike" kern="1200" cap="none" spc="0" normalizeH="0" baseline="0" noProof="0" dirty="0">
              <a:ln>
                <a:noFill/>
              </a:ln>
              <a:solidFill>
                <a:srgbClr val="000000"/>
              </a:solidFill>
              <a:effectLst/>
              <a:uLnTx/>
              <a:uFillTx/>
              <a:latin typeface="Helvetica 75 Bold"/>
              <a:ea typeface="+mn-ea"/>
              <a:cs typeface="+mn-cs"/>
            </a:endParaRPr>
          </a:p>
        </p:txBody>
      </p:sp>
      <p:sp>
        <p:nvSpPr>
          <p:cNvPr id="6" name="Rectangle 5">
            <a:extLst>
              <a:ext uri="{FF2B5EF4-FFF2-40B4-BE49-F238E27FC236}">
                <a16:creationId xmlns:a16="http://schemas.microsoft.com/office/drawing/2014/main" id="{7BC9CDCC-8705-5AA6-98C3-A82395039BAC}"/>
              </a:ext>
              <a:ext uri="{C183D7F6-B498-43B3-948B-1728B52AA6E4}">
                <adec:decorative xmlns:adec="http://schemas.microsoft.com/office/drawing/2017/decorative" val="1"/>
              </a:ext>
            </a:extLst>
          </p:cNvPr>
          <p:cNvSpPr/>
          <p:nvPr/>
        </p:nvSpPr>
        <p:spPr>
          <a:xfrm>
            <a:off x="6118987" y="3426000"/>
            <a:ext cx="3025013" cy="34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133" b="0" i="0" u="none" strike="noStrike" kern="1200" cap="none" spc="0" normalizeH="0" baseline="0" noProof="0" dirty="0">
              <a:ln>
                <a:noFill/>
              </a:ln>
              <a:solidFill>
                <a:srgbClr val="000000"/>
              </a:solidFill>
              <a:effectLst/>
              <a:uLnTx/>
              <a:uFillTx/>
              <a:latin typeface="Helvetica 75 Bold"/>
              <a:ea typeface="+mn-ea"/>
              <a:cs typeface="+mn-cs"/>
            </a:endParaRPr>
          </a:p>
        </p:txBody>
      </p:sp>
      <p:sp>
        <p:nvSpPr>
          <p:cNvPr id="7" name="Rectangle 6">
            <a:extLst>
              <a:ext uri="{FF2B5EF4-FFF2-40B4-BE49-F238E27FC236}">
                <a16:creationId xmlns:a16="http://schemas.microsoft.com/office/drawing/2014/main" id="{65189FB8-064B-E6F6-83F1-3FEF1F5D8313}"/>
              </a:ext>
              <a:ext uri="{C183D7F6-B498-43B3-948B-1728B52AA6E4}">
                <adec:decorative xmlns:adec="http://schemas.microsoft.com/office/drawing/2017/decorative" val="1"/>
              </a:ext>
            </a:extLst>
          </p:cNvPr>
          <p:cNvSpPr/>
          <p:nvPr/>
        </p:nvSpPr>
        <p:spPr>
          <a:xfrm>
            <a:off x="9144000" y="3426000"/>
            <a:ext cx="3048000" cy="343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133" b="0" i="0" u="none" strike="noStrike" kern="1200" cap="none" spc="0" normalizeH="0" baseline="0" noProof="0" dirty="0">
              <a:ln>
                <a:noFill/>
              </a:ln>
              <a:solidFill>
                <a:srgbClr val="000000"/>
              </a:solidFill>
              <a:effectLst/>
              <a:uLnTx/>
              <a:uFillTx/>
              <a:latin typeface="Helvetica 75 Bold"/>
              <a:ea typeface="+mn-ea"/>
              <a:cs typeface="+mn-cs"/>
            </a:endParaRPr>
          </a:p>
        </p:txBody>
      </p:sp>
      <p:sp>
        <p:nvSpPr>
          <p:cNvPr id="9" name="Espace réservé pour une image  8">
            <a:extLst>
              <a:ext uri="{FF2B5EF4-FFF2-40B4-BE49-F238E27FC236}">
                <a16:creationId xmlns:a16="http://schemas.microsoft.com/office/drawing/2014/main" id="{4253949B-ECD2-17E9-320F-2408438607EA}"/>
              </a:ext>
              <a:ext uri="{C183D7F6-B498-43B3-948B-1728B52AA6E4}">
                <adec:decorative xmlns:adec="http://schemas.microsoft.com/office/drawing/2017/decorative" val="1"/>
              </a:ext>
            </a:extLst>
          </p:cNvPr>
          <p:cNvSpPr>
            <a:spLocks noGrp="1"/>
          </p:cNvSpPr>
          <p:nvPr>
            <p:ph type="pic" sz="quarter" idx="10"/>
          </p:nvPr>
        </p:nvSpPr>
        <p:spPr>
          <a:xfrm>
            <a:off x="6096000" y="1"/>
            <a:ext cx="6096000" cy="3426884"/>
          </a:xfrm>
        </p:spPr>
        <p:txBody>
          <a:bodyPr/>
          <a:lstStyle/>
          <a:p>
            <a:r>
              <a:rPr lang="fr-FR"/>
              <a:t>Cliquez sur l'icône pour ajouter une image</a:t>
            </a:r>
            <a:endParaRPr lang="en-GB"/>
          </a:p>
        </p:txBody>
      </p:sp>
      <p:sp>
        <p:nvSpPr>
          <p:cNvPr id="11" name="Espace réservé du texte 10">
            <a:extLst>
              <a:ext uri="{FF2B5EF4-FFF2-40B4-BE49-F238E27FC236}">
                <a16:creationId xmlns:a16="http://schemas.microsoft.com/office/drawing/2014/main" id="{C4CACB87-9434-4C44-25D0-8EBDC2D65935}"/>
              </a:ext>
            </a:extLst>
          </p:cNvPr>
          <p:cNvSpPr>
            <a:spLocks noGrp="1"/>
          </p:cNvSpPr>
          <p:nvPr>
            <p:ph type="body" sz="quarter" idx="11"/>
          </p:nvPr>
        </p:nvSpPr>
        <p:spPr>
          <a:xfrm>
            <a:off x="227857" y="3621021"/>
            <a:ext cx="2592287" cy="29763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5" name="Espace réservé du texte 10">
            <a:extLst>
              <a:ext uri="{FF2B5EF4-FFF2-40B4-BE49-F238E27FC236}">
                <a16:creationId xmlns:a16="http://schemas.microsoft.com/office/drawing/2014/main" id="{0CB484C3-4275-FED6-F803-8E6FB9856E7D}"/>
              </a:ext>
            </a:extLst>
          </p:cNvPr>
          <p:cNvSpPr>
            <a:spLocks noGrp="1"/>
          </p:cNvSpPr>
          <p:nvPr>
            <p:ph type="body" sz="quarter" idx="13"/>
          </p:nvPr>
        </p:nvSpPr>
        <p:spPr>
          <a:xfrm>
            <a:off x="6312363" y="3654276"/>
            <a:ext cx="2592287" cy="2976331"/>
          </a:xfrm>
        </p:spPr>
        <p:txBody>
          <a:bodyPr/>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4" name="Espace réservé du texte 10">
            <a:extLst>
              <a:ext uri="{FF2B5EF4-FFF2-40B4-BE49-F238E27FC236}">
                <a16:creationId xmlns:a16="http://schemas.microsoft.com/office/drawing/2014/main" id="{8E1A2CEB-F2C4-8B1F-200F-D0811ECEB471}"/>
              </a:ext>
            </a:extLst>
          </p:cNvPr>
          <p:cNvSpPr>
            <a:spLocks noGrp="1"/>
          </p:cNvSpPr>
          <p:nvPr>
            <p:ph type="body" sz="quarter" idx="12"/>
          </p:nvPr>
        </p:nvSpPr>
        <p:spPr>
          <a:xfrm>
            <a:off x="9360363" y="3637281"/>
            <a:ext cx="2592287" cy="2976331"/>
          </a:xfrm>
        </p:spPr>
        <p:txBody>
          <a:bodyPr/>
          <a:lstStyle>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8" name="Espace réservé pour une image  17">
            <a:extLst>
              <a:ext uri="{FF2B5EF4-FFF2-40B4-BE49-F238E27FC236}">
                <a16:creationId xmlns:a16="http://schemas.microsoft.com/office/drawing/2014/main" id="{FF0B7079-20A2-77AD-8339-D997CFB457F4}"/>
              </a:ext>
              <a:ext uri="{C183D7F6-B498-43B3-948B-1728B52AA6E4}">
                <adec:decorative xmlns:adec="http://schemas.microsoft.com/office/drawing/2017/decorative" val="1"/>
              </a:ext>
            </a:extLst>
          </p:cNvPr>
          <p:cNvSpPr>
            <a:spLocks noGrp="1"/>
          </p:cNvSpPr>
          <p:nvPr>
            <p:ph type="pic" sz="quarter" idx="15"/>
          </p:nvPr>
        </p:nvSpPr>
        <p:spPr>
          <a:xfrm>
            <a:off x="3212437" y="3615907"/>
            <a:ext cx="2690187" cy="3014701"/>
          </a:xfrm>
        </p:spPr>
        <p:txBody>
          <a:bodyPr/>
          <a:lstStyle/>
          <a:p>
            <a:r>
              <a:rPr lang="fr-FR"/>
              <a:t>Cliquez sur l'icône pour ajouter une image</a:t>
            </a:r>
            <a:endParaRPr lang="en-GB"/>
          </a:p>
        </p:txBody>
      </p:sp>
      <p:sp>
        <p:nvSpPr>
          <p:cNvPr id="3" name="TextBox 3">
            <a:extLst>
              <a:ext uri="{FF2B5EF4-FFF2-40B4-BE49-F238E27FC236}">
                <a16:creationId xmlns:a16="http://schemas.microsoft.com/office/drawing/2014/main" id="{474DD10F-4B3B-778C-8C8E-DC1D752675A7}"/>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143473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contents">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7599" y="357717"/>
            <a:ext cx="11355300" cy="988483"/>
          </a:xfrm>
        </p:spPr>
        <p:txBody>
          <a:bodyPr/>
          <a:lstStyle>
            <a:lvl1pPr>
              <a:defRPr baseline="0"/>
            </a:lvl1pPr>
          </a:lstStyle>
          <a:p>
            <a:r>
              <a:rPr lang="fr-FR" noProof="0" dirty="0"/>
              <a:t>Cliquez pour modifiez le titre</a:t>
            </a:r>
          </a:p>
        </p:txBody>
      </p:sp>
      <p:sp>
        <p:nvSpPr>
          <p:cNvPr id="3" name="Content Placeholder 2"/>
          <p:cNvSpPr>
            <a:spLocks noGrp="1"/>
          </p:cNvSpPr>
          <p:nvPr>
            <p:ph sz="half" idx="1" hasCustomPrompt="1"/>
          </p:nvPr>
        </p:nvSpPr>
        <p:spPr>
          <a:xfrm>
            <a:off x="417601" y="1574800"/>
            <a:ext cx="5290740"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Modifiez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4800"/>
            <a:ext cx="5286507" cy="4493683"/>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Modifiez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2" name="TextBox 3">
            <a:extLst>
              <a:ext uri="{FF2B5EF4-FFF2-40B4-BE49-F238E27FC236}">
                <a16:creationId xmlns:a16="http://schemas.microsoft.com/office/drawing/2014/main" id="{9227FFF1-8108-BB85-A3E9-F31A79005D17}"/>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57750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essage clé">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970" y="452969"/>
            <a:ext cx="11294532" cy="5507567"/>
          </a:xfrm>
        </p:spPr>
        <p:txBody>
          <a:bodyPr/>
          <a:lstStyle>
            <a:lvl1pPr>
              <a:lnSpc>
                <a:spcPct val="85000"/>
              </a:lnSpc>
              <a:spcAft>
                <a:spcPts val="3200"/>
              </a:spcAft>
              <a:defRPr sz="400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17150550"/>
      </p:ext>
    </p:extLst>
  </p:cSld>
  <p:clrMapOvr>
    <a:masterClrMapping/>
  </p:clrMapOvr>
  <p:transition spd="med">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z le titre</a:t>
            </a:r>
          </a:p>
        </p:txBody>
      </p:sp>
      <p:sp>
        <p:nvSpPr>
          <p:cNvPr id="2" name="TextBox 3">
            <a:extLst>
              <a:ext uri="{FF2B5EF4-FFF2-40B4-BE49-F238E27FC236}">
                <a16:creationId xmlns:a16="http://schemas.microsoft.com/office/drawing/2014/main" id="{8EC9ECE9-37AF-4A5D-61D4-A0568D000985}"/>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150258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full-screen-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000000"/>
                </a:solidFill>
              </a:defRPr>
            </a:lvl1pPr>
          </a:lstStyle>
          <a:p>
            <a:r>
              <a:rPr lang="fr-FR" noProof="0" dirty="0"/>
              <a:t>Cliquez pour modifiez le titre</a:t>
            </a:r>
          </a:p>
        </p:txBody>
      </p:sp>
      <p:sp>
        <p:nvSpPr>
          <p:cNvPr id="4" name="Picture Placeholder 3"/>
          <p:cNvSpPr>
            <a:spLocks noGrp="1"/>
          </p:cNvSpPr>
          <p:nvPr>
            <p:ph type="pic" sz="quarter" idx="12" hasCustomPrompt="1"/>
          </p:nvPr>
        </p:nvSpPr>
        <p:spPr>
          <a:xfrm>
            <a:off x="0" y="0"/>
            <a:ext cx="12192000" cy="6858000"/>
          </a:xfrm>
        </p:spPr>
        <p:txBody>
          <a:bodyPr/>
          <a:lstStyle>
            <a:lvl1pPr>
              <a:defRPr/>
            </a:lvl1pPr>
          </a:lstStyle>
          <a:p>
            <a:r>
              <a:rPr lang="fr-FR" noProof="0" dirty="0"/>
              <a:t>Cliquez sur l’icone pour ajouter une photo</a:t>
            </a:r>
          </a:p>
        </p:txBody>
      </p:sp>
    </p:spTree>
    <p:extLst>
      <p:ext uri="{BB962C8B-B14F-4D97-AF65-F5344CB8AC3E}">
        <p14:creationId xmlns:p14="http://schemas.microsoft.com/office/powerpoint/2010/main" val="70659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2" name="TextBox 3">
            <a:extLst>
              <a:ext uri="{FF2B5EF4-FFF2-40B4-BE49-F238E27FC236}">
                <a16:creationId xmlns:a16="http://schemas.microsoft.com/office/drawing/2014/main" id="{417B6A38-CA97-5834-0627-E25D985504A7}"/>
              </a:ext>
            </a:extLst>
          </p:cNvPr>
          <p:cNvSpPr txBox="1"/>
          <p:nvPr/>
        </p:nvSpPr>
        <p:spPr>
          <a:xfrm>
            <a:off x="826060" y="6332195"/>
            <a:ext cx="1115690" cy="164212"/>
          </a:xfrm>
          <a:prstGeom prst="rect">
            <a:avLst/>
          </a:prstGeom>
          <a:noFill/>
        </p:spPr>
        <p:txBody>
          <a:bodyPr wrap="none" lIns="0" tIns="0" rIns="0" bIns="0" rtlCol="0">
            <a:spAutoFit/>
          </a:bodyPr>
          <a:lstStyle/>
          <a:p>
            <a:r>
              <a:rPr kumimoji="0" lang="fr-FR" sz="1067"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Restreint Orange</a:t>
            </a:r>
          </a:p>
        </p:txBody>
      </p:sp>
    </p:spTree>
    <p:extLst>
      <p:ext uri="{BB962C8B-B14F-4D97-AF65-F5344CB8AC3E}">
        <p14:creationId xmlns:p14="http://schemas.microsoft.com/office/powerpoint/2010/main" val="261084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2968" y="452968"/>
            <a:ext cx="11294533" cy="831851"/>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a:t>Modifiez le style du titre</a:t>
            </a:r>
            <a:endParaRPr lang="en-US"/>
          </a:p>
        </p:txBody>
      </p:sp>
      <p:sp>
        <p:nvSpPr>
          <p:cNvPr id="3" name="Content Placeholder 2"/>
          <p:cNvSpPr>
            <a:spLocks noGrp="1"/>
          </p:cNvSpPr>
          <p:nvPr>
            <p:ph idx="1"/>
          </p:nvPr>
        </p:nvSpPr>
        <p:spPr>
          <a:xfrm>
            <a:off x="452970" y="1739901"/>
            <a:ext cx="11294532" cy="4220633"/>
          </a:xfrm>
        </p:spPr>
        <p:txBody>
          <a:bodyPr/>
          <a:lstStyle>
            <a:lvl1pPr>
              <a:lnSpc>
                <a:spcPct val="90000"/>
              </a:lnSpc>
              <a:spcAft>
                <a:spcPts val="1067"/>
              </a:spcAft>
              <a:defRPr sz="1867">
                <a:solidFill>
                  <a:srgbClr val="FF6600"/>
                </a:solidFill>
                <a:latin typeface="Helvetica 75 Bold" panose="020B0804020202020204" pitchFamily="34" charset="0"/>
              </a:defRPr>
            </a:lvl1pPr>
            <a:lvl2pPr>
              <a:lnSpc>
                <a:spcPct val="90000"/>
              </a:lnSpc>
              <a:spcAft>
                <a:spcPts val="1067"/>
              </a:spcAft>
              <a:defRPr sz="1867">
                <a:latin typeface="Helvetica 75 Bold" panose="020B0804020202020204" pitchFamily="34" charset="0"/>
              </a:defRPr>
            </a:lvl2pPr>
            <a:lvl3pPr>
              <a:lnSpc>
                <a:spcPct val="90000"/>
              </a:lnSpc>
              <a:spcAft>
                <a:spcPts val="1067"/>
              </a:spcAft>
              <a:defRPr sz="1867">
                <a:latin typeface="Helvetica 75 Bold" panose="020B0804020202020204" pitchFamily="34" charset="0"/>
              </a:defRPr>
            </a:lvl3pPr>
            <a:lvl4pPr>
              <a:lnSpc>
                <a:spcPct val="90000"/>
              </a:lnSpc>
              <a:spcAft>
                <a:spcPts val="1067"/>
              </a:spcAft>
              <a:defRPr sz="1867">
                <a:latin typeface="Helvetica 75 Bold" panose="020B0804020202020204" pitchFamily="34" charset="0"/>
              </a:defRPr>
            </a:lvl4pPr>
            <a:lvl5pPr>
              <a:lnSpc>
                <a:spcPct val="90000"/>
              </a:lnSpc>
              <a:spcAft>
                <a:spcPts val="1067"/>
              </a:spcAft>
              <a:defRPr sz="1867">
                <a:latin typeface="Helvetica 75 Bold" panose="020B08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 name="Groupe 3">
            <a:extLst>
              <a:ext uri="{FF2B5EF4-FFF2-40B4-BE49-F238E27FC236}">
                <a16:creationId xmlns:a16="http://schemas.microsoft.com/office/drawing/2014/main" id="{2CE58A74-CFDA-12B4-FCD2-D76EC4EBB4F2}"/>
              </a:ext>
            </a:extLst>
          </p:cNvPr>
          <p:cNvGrpSpPr/>
          <p:nvPr userDrawn="1"/>
        </p:nvGrpSpPr>
        <p:grpSpPr>
          <a:xfrm>
            <a:off x="0" y="6169848"/>
            <a:ext cx="12192000" cy="688152"/>
            <a:chOff x="0" y="6163498"/>
            <a:chExt cx="12192000" cy="688152"/>
          </a:xfrm>
        </p:grpSpPr>
        <p:sp>
          <p:nvSpPr>
            <p:cNvPr id="5" name="Freeform 2">
              <a:extLst>
                <a:ext uri="{FF2B5EF4-FFF2-40B4-BE49-F238E27FC236}">
                  <a16:creationId xmlns:a16="http://schemas.microsoft.com/office/drawing/2014/main" id="{DD270E00-294F-1908-FB6D-8DD572285549}"/>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6" name="TextBox 3">
              <a:extLst>
                <a:ext uri="{FF2B5EF4-FFF2-40B4-BE49-F238E27FC236}">
                  <a16:creationId xmlns:a16="http://schemas.microsoft.com/office/drawing/2014/main" id="{112C2A8C-F07A-21BF-F124-E150BF12D5A9}"/>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7" name="TextBox 4">
              <a:extLst>
                <a:ext uri="{FF2B5EF4-FFF2-40B4-BE49-F238E27FC236}">
                  <a16:creationId xmlns:a16="http://schemas.microsoft.com/office/drawing/2014/main" id="{AE7F7E1A-75B4-CA2A-DDD4-B3698D2B9671}"/>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821713885"/>
      </p:ext>
    </p:extLst>
  </p:cSld>
  <p:clrMapOvr>
    <a:masterClrMapping/>
  </p:clrMapOvr>
  <p:transition spd="med">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8/11/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48438608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spcAft>
                <a:spcPts val="0"/>
              </a:spcAft>
              <a:defRPr>
                <a:solidFill>
                  <a:srgbClr val="FF6600"/>
                </a:solidFill>
                <a:latin typeface="Helvetica 75 Bold" panose="020B0804020202020204" pitchFamily="34" charset="0"/>
              </a:defRPr>
            </a:lvl1pPr>
          </a:lstStyle>
          <a:p>
            <a:r>
              <a:rPr lang="fr-FR"/>
              <a:t>Modifiez le style du titre</a:t>
            </a:r>
            <a:endParaRPr lang="en-US"/>
          </a:p>
        </p:txBody>
      </p:sp>
    </p:spTree>
    <p:extLst>
      <p:ext uri="{BB962C8B-B14F-4D97-AF65-F5344CB8AC3E}">
        <p14:creationId xmlns:p14="http://schemas.microsoft.com/office/powerpoint/2010/main" val="4197740429"/>
      </p:ext>
    </p:extLst>
  </p:cSld>
  <p:clrMapOvr>
    <a:masterClrMapping/>
  </p:clrMapOvr>
  <p:transition spd="med">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717790"/>
      </p:ext>
    </p:extLst>
  </p:cSld>
  <p:clrMapOvr>
    <a:masterClrMapping/>
  </p:clrMapOvr>
  <p:transition spd="med">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2.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3.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theme" Target="../theme/theme5.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6.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40E701-0288-273C-45E3-C3CEBFB0D191}"/>
              </a:ext>
            </a:extLst>
          </p:cNvPr>
          <p:cNvGraphicFramePr>
            <a:graphicFrameLocks noChangeAspect="1"/>
          </p:cNvGraphicFramePr>
          <p:nvPr>
            <p:custDataLst>
              <p:tags r:id="rId13"/>
            </p:custDataLst>
            <p:extLst>
              <p:ext uri="{D42A27DB-BD31-4B8C-83A1-F6EECF244321}">
                <p14:modId xmlns:p14="http://schemas.microsoft.com/office/powerpoint/2010/main" val="136605119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think-cell data - do not delete" hidden="1">
                        <a:extLst>
                          <a:ext uri="{FF2B5EF4-FFF2-40B4-BE49-F238E27FC236}">
                            <a16:creationId xmlns:a16="http://schemas.microsoft.com/office/drawing/2014/main" id="{7640E701-0288-273C-45E3-C3CEBFB0D191}"/>
                          </a:ext>
                        </a:extLst>
                      </p:cNvPr>
                      <p:cNvPicPr/>
                      <p:nvPr/>
                    </p:nvPicPr>
                    <p:blipFill>
                      <a:blip r:embed="rId15"/>
                      <a:stretch>
                        <a:fillRect/>
                      </a:stretch>
                    </p:blipFill>
                    <p:spPr>
                      <a:xfrm>
                        <a:off x="1589" y="1589"/>
                        <a:ext cx="1588" cy="1588"/>
                      </a:xfrm>
                      <a:prstGeom prst="rect">
                        <a:avLst/>
                      </a:prstGeom>
                    </p:spPr>
                  </p:pic>
                </p:oleObj>
              </mc:Fallback>
            </mc:AlternateContent>
          </a:graphicData>
        </a:graphic>
      </p:graphicFrame>
      <p:sp>
        <p:nvSpPr>
          <p:cNvPr id="2050" name="Title Placeholder 1"/>
          <p:cNvSpPr>
            <a:spLocks noGrp="1"/>
          </p:cNvSpPr>
          <p:nvPr>
            <p:ph type="title"/>
          </p:nvPr>
        </p:nvSpPr>
        <p:spPr bwMode="auto">
          <a:xfrm>
            <a:off x="452968" y="452967"/>
            <a:ext cx="11294533" cy="82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Modifiez le style du titre</a:t>
            </a:r>
            <a:endParaRPr lang="en-GB" altLang="en-US"/>
          </a:p>
        </p:txBody>
      </p:sp>
      <p:sp>
        <p:nvSpPr>
          <p:cNvPr id="2051" name="Text Placeholder 2"/>
          <p:cNvSpPr>
            <a:spLocks noGrp="1"/>
          </p:cNvSpPr>
          <p:nvPr>
            <p:ph type="body" idx="1"/>
          </p:nvPr>
        </p:nvSpPr>
        <p:spPr bwMode="auto">
          <a:xfrm>
            <a:off x="448735" y="1739180"/>
            <a:ext cx="11298767" cy="421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5" name="Text Placeholder 10"/>
          <p:cNvSpPr txBox="1">
            <a:spLocks/>
          </p:cNvSpPr>
          <p:nvPr/>
        </p:nvSpPr>
        <p:spPr>
          <a:xfrm>
            <a:off x="448733" y="5962653"/>
            <a:ext cx="366680" cy="446615"/>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lang="en-GB" sz="1067">
                <a:solidFill>
                  <a:srgbClr val="FFFFFF"/>
                </a:solidFill>
                <a:latin typeface="Helvetica 75 Bold" panose="020B0804020202020204" pitchFamily="34" charset="0"/>
              </a:rPr>
              <a:pPr>
                <a:lnSpc>
                  <a:spcPct val="85000"/>
                </a:lnSpc>
                <a:spcAft>
                  <a:spcPts val="1600"/>
                </a:spcAft>
                <a:buClr>
                  <a:srgbClr val="FFFFFF"/>
                </a:buClr>
                <a:defRPr/>
              </a:pPr>
              <a:t>‹N°›</a:t>
            </a:fld>
            <a:endParaRPr lang="en-GB" sz="1067">
              <a:solidFill>
                <a:srgbClr val="FFFFFF"/>
              </a:solidFill>
              <a:latin typeface="Helvetica 75 Bold" panose="020B0804020202020204" pitchFamily="34" charset="0"/>
            </a:endParaRPr>
          </a:p>
        </p:txBody>
      </p:sp>
      <p:sp>
        <p:nvSpPr>
          <p:cNvPr id="2" name="ZoneTexte 1">
            <a:extLst>
              <a:ext uri="{FF2B5EF4-FFF2-40B4-BE49-F238E27FC236}">
                <a16:creationId xmlns:a16="http://schemas.microsoft.com/office/drawing/2014/main" id="{2833A084-7EA1-457E-B196-D4C6A546B5AF}"/>
              </a:ext>
            </a:extLst>
          </p:cNvPr>
          <p:cNvSpPr txBox="1"/>
          <p:nvPr userDrawn="1">
            <p:extLst>
              <p:ext uri="{1162E1C5-73C7-4A58-AE30-91384D911F3F}">
                <p184:classification xmlns:p184="http://schemas.microsoft.com/office/powerpoint/2018/4/main" val="ftr"/>
              </p:ext>
            </p:extLst>
          </p:nvPr>
        </p:nvSpPr>
        <p:spPr>
          <a:xfrm>
            <a:off x="5649913" y="66725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407512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spd="med">
    <p:fade/>
  </p:transition>
  <p:hf hdr="0" ftr="0" dt="0"/>
  <p:txStyles>
    <p:titleStyle>
      <a:lvl1pPr algn="l" defTabSz="685766" rtl="0" eaLnBrk="1" fontAlgn="base" hangingPunct="1">
        <a:lnSpc>
          <a:spcPct val="90000"/>
        </a:lnSpc>
        <a:spcBef>
          <a:spcPct val="0"/>
        </a:spcBef>
        <a:spcAft>
          <a:spcPts val="0"/>
        </a:spcAft>
        <a:defRPr sz="2667" kern="1200">
          <a:solidFill>
            <a:srgbClr val="FF6600"/>
          </a:solidFill>
          <a:latin typeface="Helvetica 75 Bold" panose="020B0804020202020204" pitchFamily="34" charset="0"/>
          <a:ea typeface="ＭＳ Ｐゴシック" pitchFamily="34" charset="-128"/>
          <a:cs typeface="+mj-cs"/>
        </a:defRPr>
      </a:lvl1pPr>
      <a:lvl2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2pPr>
      <a:lvl3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3pPr>
      <a:lvl4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4pPr>
      <a:lvl5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5pPr>
      <a:lvl6pPr marL="609570"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6pPr>
      <a:lvl7pPr marL="1219140"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7pPr>
      <a:lvl8pPr marL="1828709"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8pPr>
      <a:lvl9pPr marL="2438278"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9pPr>
    </p:titleStyle>
    <p:bodyStyle>
      <a:lvl1pPr algn="l" defTabSz="685766" rtl="0" eaLnBrk="1" fontAlgn="base" hangingPunct="1">
        <a:lnSpc>
          <a:spcPct val="90000"/>
        </a:lnSpc>
        <a:spcBef>
          <a:spcPct val="0"/>
        </a:spcBef>
        <a:spcAft>
          <a:spcPts val="1067"/>
        </a:spcAft>
        <a:buFont typeface="Arial" pitchFamily="34" charset="0"/>
        <a:defRPr sz="1867" kern="1200">
          <a:solidFill>
            <a:srgbClr val="FF6600"/>
          </a:solidFill>
          <a:latin typeface="Helvetica 75 Bold" panose="020B0804020202020204" pitchFamily="34" charset="0"/>
          <a:ea typeface="ＭＳ Ｐゴシック" pitchFamily="34" charset="-128"/>
          <a:cs typeface="+mn-cs"/>
        </a:defRPr>
      </a:lvl1pPr>
      <a:lvl2pPr algn="l" defTabSz="685766" rtl="0" eaLnBrk="1" fontAlgn="base" hangingPunct="1">
        <a:lnSpc>
          <a:spcPct val="90000"/>
        </a:lnSpc>
        <a:spcBef>
          <a:spcPct val="0"/>
        </a:spcBef>
        <a:spcAft>
          <a:spcPts val="1067"/>
        </a:spcAft>
        <a:buFont typeface="Arial" pitchFamily="34" charset="0"/>
        <a:defRPr sz="1867" kern="1200">
          <a:solidFill>
            <a:schemeClr val="tx1"/>
          </a:solidFill>
          <a:latin typeface="Helvetica 75 Bold" panose="020B0804020202020204" pitchFamily="34" charset="0"/>
          <a:ea typeface="ＭＳ Ｐゴシック" pitchFamily="34" charset="-128"/>
          <a:cs typeface="+mn-cs"/>
        </a:defRPr>
      </a:lvl2pPr>
      <a:lvl3pPr marL="177792" indent="-177792" algn="l" defTabSz="685766"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3pPr>
      <a:lvl4pPr marL="361934" indent="-179909" algn="l" defTabSz="685766"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4pPr>
      <a:lvl5pPr marL="541840" indent="-179909" algn="l" defTabSz="685766"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40E701-0288-273C-45E3-C3CEBFB0D191}"/>
              </a:ext>
            </a:extLst>
          </p:cNvPr>
          <p:cNvGraphicFramePr>
            <a:graphicFrameLocks noChangeAspect="1"/>
          </p:cNvGraphicFramePr>
          <p:nvPr>
            <p:custDataLst>
              <p:tags r:id="rId12"/>
            </p:custDataLst>
            <p:extLst>
              <p:ext uri="{D42A27DB-BD31-4B8C-83A1-F6EECF244321}">
                <p14:modId xmlns:p14="http://schemas.microsoft.com/office/powerpoint/2010/main" val="245587494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4" name="think-cell data - do not delete" hidden="1">
                        <a:extLst>
                          <a:ext uri="{FF2B5EF4-FFF2-40B4-BE49-F238E27FC236}">
                            <a16:creationId xmlns:a16="http://schemas.microsoft.com/office/drawing/2014/main" id="{7640E701-0288-273C-45E3-C3CEBFB0D191}"/>
                          </a:ext>
                        </a:extLst>
                      </p:cNvPr>
                      <p:cNvPicPr/>
                      <p:nvPr/>
                    </p:nvPicPr>
                    <p:blipFill>
                      <a:blip r:embed="rId14"/>
                      <a:stretch>
                        <a:fillRect/>
                      </a:stretch>
                    </p:blipFill>
                    <p:spPr>
                      <a:xfrm>
                        <a:off x="1590" y="1590"/>
                        <a:ext cx="1588" cy="1588"/>
                      </a:xfrm>
                      <a:prstGeom prst="rect">
                        <a:avLst/>
                      </a:prstGeom>
                    </p:spPr>
                  </p:pic>
                </p:oleObj>
              </mc:Fallback>
            </mc:AlternateContent>
          </a:graphicData>
        </a:graphic>
      </p:graphicFrame>
      <p:sp>
        <p:nvSpPr>
          <p:cNvPr id="2050" name="Title Placeholder 1"/>
          <p:cNvSpPr>
            <a:spLocks noGrp="1"/>
          </p:cNvSpPr>
          <p:nvPr>
            <p:ph type="title"/>
          </p:nvPr>
        </p:nvSpPr>
        <p:spPr bwMode="auto">
          <a:xfrm>
            <a:off x="452968" y="452969"/>
            <a:ext cx="11294533" cy="82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Modifiez le style du titre</a:t>
            </a:r>
            <a:endParaRPr lang="en-GB" altLang="en-US"/>
          </a:p>
        </p:txBody>
      </p:sp>
      <p:sp>
        <p:nvSpPr>
          <p:cNvPr id="2051" name="Text Placeholder 2"/>
          <p:cNvSpPr>
            <a:spLocks noGrp="1"/>
          </p:cNvSpPr>
          <p:nvPr>
            <p:ph type="body" idx="1"/>
          </p:nvPr>
        </p:nvSpPr>
        <p:spPr bwMode="auto">
          <a:xfrm>
            <a:off x="448737" y="1739180"/>
            <a:ext cx="11298767" cy="421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5" name="Text Placeholder 10"/>
          <p:cNvSpPr txBox="1">
            <a:spLocks/>
          </p:cNvSpPr>
          <p:nvPr/>
        </p:nvSpPr>
        <p:spPr>
          <a:xfrm>
            <a:off x="448733" y="5962654"/>
            <a:ext cx="366680" cy="446615"/>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lang="en-GB" sz="1067">
                <a:solidFill>
                  <a:srgbClr val="FFFFFF"/>
                </a:solidFill>
                <a:latin typeface="Helvetica 75 Bold" panose="020B0804020202020204" pitchFamily="34" charset="0"/>
              </a:rPr>
              <a:pPr>
                <a:lnSpc>
                  <a:spcPct val="85000"/>
                </a:lnSpc>
                <a:spcAft>
                  <a:spcPts val="1600"/>
                </a:spcAft>
                <a:buClr>
                  <a:srgbClr val="FFFFFF"/>
                </a:buClr>
                <a:defRPr/>
              </a:pPr>
              <a:t>‹N°›</a:t>
            </a:fld>
            <a:endParaRPr lang="en-GB" sz="1067">
              <a:solidFill>
                <a:srgbClr val="FFFFFF"/>
              </a:solidFill>
              <a:latin typeface="Helvetica 75 Bold" panose="020B0804020202020204" pitchFamily="34" charset="0"/>
            </a:endParaRPr>
          </a:p>
        </p:txBody>
      </p:sp>
      <p:sp>
        <p:nvSpPr>
          <p:cNvPr id="2" name="TextBox 1">
            <a:extLst>
              <a:ext uri="{FF2B5EF4-FFF2-40B4-BE49-F238E27FC236}">
                <a16:creationId xmlns:a16="http://schemas.microsoft.com/office/drawing/2014/main" id="{FE62F989-18A8-4BBE-823E-A9DE40CB1A64}"/>
              </a:ext>
            </a:extLst>
          </p:cNvPr>
          <p:cNvSpPr txBox="1"/>
          <p:nvPr>
            <p:extLst>
              <p:ext uri="{1162E1C5-73C7-4A58-AE30-91384D911F3F}">
                <p184:classification xmlns:p184="http://schemas.microsoft.com/office/powerpoint/2018/4/main" val="ftr"/>
              </p:ext>
            </p:extLst>
          </p:nvPr>
        </p:nvSpPr>
        <p:spPr>
          <a:xfrm>
            <a:off x="5501217" y="6695441"/>
            <a:ext cx="1227667" cy="164212"/>
          </a:xfrm>
          <a:prstGeom prst="rect">
            <a:avLst/>
          </a:prstGeom>
        </p:spPr>
        <p:txBody>
          <a:bodyPr horzOverflow="overflow" lIns="0" tIns="0" rIns="0" bIns="0">
            <a:spAutoFit/>
          </a:bodyPr>
          <a:lstStyle/>
          <a:p>
            <a:pPr algn="l"/>
            <a:r>
              <a:rPr lang="en-US" sz="1067">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24332790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transition spd="med">
    <p:fade/>
  </p:transition>
  <p:hf hdr="0"/>
  <p:txStyles>
    <p:titleStyle>
      <a:lvl1pPr algn="l" defTabSz="685750" rtl="0" eaLnBrk="1" fontAlgn="base" hangingPunct="1">
        <a:lnSpc>
          <a:spcPct val="90000"/>
        </a:lnSpc>
        <a:spcBef>
          <a:spcPct val="0"/>
        </a:spcBef>
        <a:spcAft>
          <a:spcPts val="0"/>
        </a:spcAft>
        <a:defRPr sz="2667" kern="1200">
          <a:solidFill>
            <a:srgbClr val="FF6600"/>
          </a:solidFill>
          <a:latin typeface="Helvetica 75 Bold" panose="020B0804020202020204" pitchFamily="34" charset="0"/>
          <a:ea typeface="ＭＳ Ｐゴシック" pitchFamily="34" charset="-128"/>
          <a:cs typeface="+mj-cs"/>
        </a:defRPr>
      </a:lvl1pPr>
      <a:lvl2pPr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2pPr>
      <a:lvl3pPr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3pPr>
      <a:lvl4pPr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4pPr>
      <a:lvl5pPr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5pPr>
      <a:lvl6pPr marL="609555"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6pPr>
      <a:lvl7pPr marL="1219110"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7pPr>
      <a:lvl8pPr marL="1828664"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8pPr>
      <a:lvl9pPr marL="2438218" algn="l" defTabSz="685750"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9pPr>
    </p:titleStyle>
    <p:bodyStyle>
      <a:lvl1pPr algn="l" defTabSz="685750" rtl="0" eaLnBrk="1" fontAlgn="base" hangingPunct="1">
        <a:lnSpc>
          <a:spcPct val="90000"/>
        </a:lnSpc>
        <a:spcBef>
          <a:spcPct val="0"/>
        </a:spcBef>
        <a:spcAft>
          <a:spcPts val="1067"/>
        </a:spcAft>
        <a:buFont typeface="Arial" pitchFamily="34" charset="0"/>
        <a:defRPr sz="1867" kern="1200">
          <a:solidFill>
            <a:srgbClr val="FF6600"/>
          </a:solidFill>
          <a:latin typeface="Helvetica 75 Bold" panose="020B0804020202020204" pitchFamily="34" charset="0"/>
          <a:ea typeface="ＭＳ Ｐゴシック" pitchFamily="34" charset="-128"/>
          <a:cs typeface="+mn-cs"/>
        </a:defRPr>
      </a:lvl1pPr>
      <a:lvl2pPr algn="l" defTabSz="685750" rtl="0" eaLnBrk="1" fontAlgn="base" hangingPunct="1">
        <a:lnSpc>
          <a:spcPct val="90000"/>
        </a:lnSpc>
        <a:spcBef>
          <a:spcPct val="0"/>
        </a:spcBef>
        <a:spcAft>
          <a:spcPts val="1067"/>
        </a:spcAft>
        <a:buFont typeface="Arial" pitchFamily="34" charset="0"/>
        <a:defRPr sz="1867" kern="1200">
          <a:solidFill>
            <a:schemeClr val="tx1"/>
          </a:solidFill>
          <a:latin typeface="Helvetica 75 Bold" panose="020B0804020202020204" pitchFamily="34" charset="0"/>
          <a:ea typeface="ＭＳ Ｐゴシック" pitchFamily="34" charset="-128"/>
          <a:cs typeface="+mn-cs"/>
        </a:defRPr>
      </a:lvl2pPr>
      <a:lvl3pPr marL="177788" indent="-177788" algn="l" defTabSz="685750"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3pPr>
      <a:lvl4pPr marL="361926" indent="-179905" algn="l" defTabSz="685750"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4pPr>
      <a:lvl5pPr marL="541826" indent="-179905" algn="l" defTabSz="685750"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5pPr>
      <a:lvl6pPr marL="1885810"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683"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558"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434" indent="-171438" algn="l" defTabSz="68575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50" rtl="0" eaLnBrk="1" latinLnBrk="0" hangingPunct="1">
        <a:defRPr sz="1351" kern="1200">
          <a:solidFill>
            <a:schemeClr val="tx1"/>
          </a:solidFill>
          <a:latin typeface="+mn-lt"/>
          <a:ea typeface="+mn-ea"/>
          <a:cs typeface="+mn-cs"/>
        </a:defRPr>
      </a:lvl1pPr>
      <a:lvl2pPr marL="342874" algn="l" defTabSz="685750" rtl="0" eaLnBrk="1" latinLnBrk="0" hangingPunct="1">
        <a:defRPr sz="1351" kern="1200">
          <a:solidFill>
            <a:schemeClr val="tx1"/>
          </a:solidFill>
          <a:latin typeface="+mn-lt"/>
          <a:ea typeface="+mn-ea"/>
          <a:cs typeface="+mn-cs"/>
        </a:defRPr>
      </a:lvl2pPr>
      <a:lvl3pPr marL="685750" algn="l" defTabSz="685750" rtl="0" eaLnBrk="1" latinLnBrk="0" hangingPunct="1">
        <a:defRPr sz="1351" kern="1200">
          <a:solidFill>
            <a:schemeClr val="tx1"/>
          </a:solidFill>
          <a:latin typeface="+mn-lt"/>
          <a:ea typeface="+mn-ea"/>
          <a:cs typeface="+mn-cs"/>
        </a:defRPr>
      </a:lvl3pPr>
      <a:lvl4pPr marL="1028624" algn="l" defTabSz="685750" rtl="0" eaLnBrk="1" latinLnBrk="0" hangingPunct="1">
        <a:defRPr sz="1351" kern="1200">
          <a:solidFill>
            <a:schemeClr val="tx1"/>
          </a:solidFill>
          <a:latin typeface="+mn-lt"/>
          <a:ea typeface="+mn-ea"/>
          <a:cs typeface="+mn-cs"/>
        </a:defRPr>
      </a:lvl4pPr>
      <a:lvl5pPr marL="1371498" algn="l" defTabSz="685750" rtl="0" eaLnBrk="1" latinLnBrk="0" hangingPunct="1">
        <a:defRPr sz="1351" kern="1200">
          <a:solidFill>
            <a:schemeClr val="tx1"/>
          </a:solidFill>
          <a:latin typeface="+mn-lt"/>
          <a:ea typeface="+mn-ea"/>
          <a:cs typeface="+mn-cs"/>
        </a:defRPr>
      </a:lvl5pPr>
      <a:lvl6pPr marL="1714372" algn="l" defTabSz="685750" rtl="0" eaLnBrk="1" latinLnBrk="0" hangingPunct="1">
        <a:defRPr sz="1351" kern="1200">
          <a:solidFill>
            <a:schemeClr val="tx1"/>
          </a:solidFill>
          <a:latin typeface="+mn-lt"/>
          <a:ea typeface="+mn-ea"/>
          <a:cs typeface="+mn-cs"/>
        </a:defRPr>
      </a:lvl6pPr>
      <a:lvl7pPr marL="2057247" algn="l" defTabSz="685750" rtl="0" eaLnBrk="1" latinLnBrk="0" hangingPunct="1">
        <a:defRPr sz="1351" kern="1200">
          <a:solidFill>
            <a:schemeClr val="tx1"/>
          </a:solidFill>
          <a:latin typeface="+mn-lt"/>
          <a:ea typeface="+mn-ea"/>
          <a:cs typeface="+mn-cs"/>
        </a:defRPr>
      </a:lvl7pPr>
      <a:lvl8pPr marL="2400120" algn="l" defTabSz="685750" rtl="0" eaLnBrk="1" latinLnBrk="0" hangingPunct="1">
        <a:defRPr sz="1351" kern="1200">
          <a:solidFill>
            <a:schemeClr val="tx1"/>
          </a:solidFill>
          <a:latin typeface="+mn-lt"/>
          <a:ea typeface="+mn-ea"/>
          <a:cs typeface="+mn-cs"/>
        </a:defRPr>
      </a:lvl8pPr>
      <a:lvl9pPr marL="2742994" algn="l" defTabSz="685750"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620DE4B-B3FF-C945-8E7C-CE694DCD8B9B}"/>
              </a:ext>
            </a:extLst>
          </p:cNvPr>
          <p:cNvGraphicFramePr>
            <a:graphicFrameLocks noChangeAspect="1"/>
          </p:cNvGraphicFramePr>
          <p:nvPr>
            <p:custDataLst>
              <p:tags r:id="rId12"/>
            </p:custDataLst>
            <p:extLst>
              <p:ext uri="{D42A27DB-BD31-4B8C-83A1-F6EECF244321}">
                <p14:modId xmlns:p14="http://schemas.microsoft.com/office/powerpoint/2010/main" val="374713617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7" name="think-cell data - do not delete" hidden="1">
                        <a:extLst>
                          <a:ext uri="{FF2B5EF4-FFF2-40B4-BE49-F238E27FC236}">
                            <a16:creationId xmlns:a16="http://schemas.microsoft.com/office/drawing/2014/main" id="{B620DE4B-B3FF-C945-8E7C-CE694DCD8B9B}"/>
                          </a:ext>
                        </a:extLst>
                      </p:cNvPr>
                      <p:cNvPicPr/>
                      <p:nvPr/>
                    </p:nvPicPr>
                    <p:blipFill>
                      <a:blip r:embed="rId14"/>
                      <a:stretch>
                        <a:fillRect/>
                      </a:stretch>
                    </p:blipFill>
                    <p:spPr>
                      <a:xfrm>
                        <a:off x="1589" y="1589"/>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17602" y="357717"/>
            <a:ext cx="11355300" cy="988483"/>
          </a:xfrm>
          <a:prstGeom prst="rect">
            <a:avLst/>
          </a:prstGeom>
        </p:spPr>
        <p:txBody>
          <a:bodyPr vert="horz" lIns="0" tIns="0" rIns="0" bIns="0" rtlCol="0" anchor="t" anchorCtr="0">
            <a:noAutofit/>
          </a:bodyPr>
          <a:lstStyle/>
          <a:p>
            <a:r>
              <a:rPr lang="en-US"/>
              <a:t>Click to edit title</a:t>
            </a:r>
            <a:endParaRPr lang="en-GB"/>
          </a:p>
        </p:txBody>
      </p:sp>
      <p:sp>
        <p:nvSpPr>
          <p:cNvPr id="3" name="Text Placeholder 2"/>
          <p:cNvSpPr>
            <a:spLocks noGrp="1"/>
          </p:cNvSpPr>
          <p:nvPr>
            <p:ph type="body" idx="1"/>
          </p:nvPr>
        </p:nvSpPr>
        <p:spPr>
          <a:xfrm>
            <a:off x="417602" y="1574802"/>
            <a:ext cx="11355300" cy="4493684"/>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9" name="Text Placeholder 10"/>
          <p:cNvSpPr txBox="1">
            <a:spLocks/>
          </p:cNvSpPr>
          <p:nvPr/>
        </p:nvSpPr>
        <p:spPr>
          <a:xfrm>
            <a:off x="419100" y="6047315"/>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4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GB"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4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GB" sz="1067" b="0" i="0" u="none" strike="noStrike" kern="1200" cap="none" spc="0" normalizeH="0" baseline="0" noProof="0">
              <a:ln>
                <a:noFill/>
              </a:ln>
              <a:solidFill>
                <a:schemeClr val="tx1"/>
              </a:solidFill>
              <a:effectLst/>
              <a:uLnTx/>
              <a:uFillTx/>
              <a:latin typeface="Helvetica 75 Bold" panose="020B0804020202020204" pitchFamily="34" charset="0"/>
              <a:ea typeface="+mn-ea"/>
              <a:cs typeface="+mn-cs"/>
            </a:endParaRPr>
          </a:p>
        </p:txBody>
      </p:sp>
      <p:sp>
        <p:nvSpPr>
          <p:cNvPr id="5" name="TextBox 4">
            <a:extLst>
              <a:ext uri="{FF2B5EF4-FFF2-40B4-BE49-F238E27FC236}">
                <a16:creationId xmlns:a16="http://schemas.microsoft.com/office/drawing/2014/main" id="{832DC4D2-1E44-4329-86DC-2A42664C7B6E}"/>
              </a:ext>
            </a:extLst>
          </p:cNvPr>
          <p:cNvSpPr txBox="1"/>
          <p:nvPr/>
        </p:nvSpPr>
        <p:spPr>
          <a:xfrm>
            <a:off x="826062" y="6332196"/>
            <a:ext cx="787075" cy="164212"/>
          </a:xfrm>
          <a:prstGeom prst="rect">
            <a:avLst/>
          </a:prstGeom>
          <a:noFill/>
        </p:spPr>
        <p:txBody>
          <a:bodyPr wrap="none" lIns="0" tIns="0" rIns="0" bIns="0" rtlCol="0">
            <a:spAutoFit/>
          </a:bodyPr>
          <a:lstStyle/>
          <a:p>
            <a:r>
              <a:rPr kumimoji="0" lang="en-GB" sz="1067" b="0" i="0" u="none" strike="noStrike" kern="1200" cap="none" spc="0" normalizeH="0" baseline="0">
                <a:ln>
                  <a:noFill/>
                </a:ln>
                <a:solidFill>
                  <a:schemeClr val="bg2"/>
                </a:solidFill>
                <a:effectLst/>
                <a:uLnTx/>
                <a:uFillTx/>
                <a:latin typeface="Helvetica 75 Bold" panose="020B0804020202020204" pitchFamily="34" charset="0"/>
                <a:ea typeface="+mn-ea"/>
                <a:cs typeface="+mn-cs"/>
              </a:rPr>
              <a:t>Confidential</a:t>
            </a:r>
          </a:p>
        </p:txBody>
      </p:sp>
      <p:sp>
        <p:nvSpPr>
          <p:cNvPr id="6" name="ZoneTexte 5">
            <a:extLst>
              <a:ext uri="{FF2B5EF4-FFF2-40B4-BE49-F238E27FC236}">
                <a16:creationId xmlns:a16="http://schemas.microsoft.com/office/drawing/2014/main" id="{61BD2377-3231-4F6C-96D0-167210816122}"/>
              </a:ext>
            </a:extLst>
          </p:cNvPr>
          <p:cNvSpPr txBox="1"/>
          <p:nvPr>
            <p:extLst>
              <p:ext uri="{1162E1C5-73C7-4A58-AE30-91384D911F3F}">
                <p184:classification xmlns:p184="http://schemas.microsoft.com/office/powerpoint/2018/4/main" val="ftr"/>
              </p:ext>
            </p:extLst>
          </p:nvPr>
        </p:nvSpPr>
        <p:spPr>
          <a:xfrm>
            <a:off x="5649914" y="6736081"/>
            <a:ext cx="920751" cy="123111"/>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63525581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4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4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4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89" indent="-241289" algn="l" defTabSz="121914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57" indent="-253988" algn="l" defTabSz="121914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11" indent="-230706" algn="l" defTabSz="121914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47" indent="-253988" algn="l" defTabSz="121914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 Placeholder"/>
          <p:cNvSpPr>
            <a:spLocks noGrp="1"/>
          </p:cNvSpPr>
          <p:nvPr>
            <p:ph type="title"/>
          </p:nvPr>
        </p:nvSpPr>
        <p:spPr>
          <a:xfrm>
            <a:off x="759885" y="762001"/>
            <a:ext cx="10672235" cy="759884"/>
          </a:xfrm>
          <a:prstGeom prst="rect">
            <a:avLst/>
          </a:prstGeom>
        </p:spPr>
        <p:txBody>
          <a:bodyPr vert="horz" lIns="0" tIns="0" rIns="0" bIns="0" rtlCol="0" anchor="t" anchorCtr="0">
            <a:noAutofit/>
          </a:bodyPr>
          <a:lstStyle/>
          <a:p>
            <a:r>
              <a:rPr lang="en-US"/>
              <a:t>Edit title</a:t>
            </a:r>
            <a:endParaRPr lang="en-GB"/>
          </a:p>
        </p:txBody>
      </p:sp>
      <p:sp>
        <p:nvSpPr>
          <p:cNvPr id="3" name="Text Placeholder"/>
          <p:cNvSpPr>
            <a:spLocks noGrp="1"/>
          </p:cNvSpPr>
          <p:nvPr>
            <p:ph type="body" idx="1"/>
          </p:nvPr>
        </p:nvSpPr>
        <p:spPr>
          <a:xfrm>
            <a:off x="759884" y="1907118"/>
            <a:ext cx="10668001" cy="4188881"/>
          </a:xfrm>
          <a:prstGeom prst="rect">
            <a:avLst/>
          </a:prstGeom>
        </p:spPr>
        <p:txBody>
          <a:bodyPr vert="horz" lIns="0" tIns="0" rIns="0" bIns="0" rtlCol="0">
            <a:noAutofit/>
          </a:bodyPr>
          <a:lstStyle/>
          <a:p>
            <a:pPr lvl="0"/>
            <a:r>
              <a:rPr lang="en-US"/>
              <a:t>Edit text</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 name="ZoneTexte 4">
            <a:extLst>
              <a:ext uri="{FF2B5EF4-FFF2-40B4-BE49-F238E27FC236}">
                <a16:creationId xmlns:a16="http://schemas.microsoft.com/office/drawing/2014/main" id="{DDFB8DB7-8BBC-B703-BCDB-26B33C3DCA5C}"/>
              </a:ext>
            </a:extLst>
          </p:cNvPr>
          <p:cNvSpPr txBox="1"/>
          <p:nvPr>
            <p:extLst>
              <p:ext uri="{1162E1C5-73C7-4A58-AE30-91384D911F3F}">
                <p184:classification xmlns:p184="http://schemas.microsoft.com/office/powerpoint/2018/4/main" val="ftr"/>
              </p:ext>
            </p:extLst>
          </p:nvPr>
        </p:nvSpPr>
        <p:spPr>
          <a:xfrm>
            <a:off x="5446184" y="6695441"/>
            <a:ext cx="1337733" cy="164212"/>
          </a:xfrm>
          <a:prstGeom prst="rect">
            <a:avLst/>
          </a:prstGeom>
        </p:spPr>
        <p:txBody>
          <a:bodyPr horzOverflow="overflow" lIns="0" tIns="0" rIns="0" bIns="0">
            <a:spAutoFit/>
          </a:bodyPr>
          <a:lstStyle/>
          <a:p>
            <a:pPr algn="l"/>
            <a:r>
              <a:rPr lang="fr-FR" sz="1067">
                <a:solidFill>
                  <a:srgbClr val="ED7D31"/>
                </a:solidFill>
                <a:latin typeface="Helvetica 75 Bold" panose="020B0804020202020204" pitchFamily="34" charset="0"/>
              </a:rPr>
              <a:t>Orange Confidential</a:t>
            </a:r>
          </a:p>
        </p:txBody>
      </p:sp>
    </p:spTree>
    <p:extLst>
      <p:ext uri="{BB962C8B-B14F-4D97-AF65-F5344CB8AC3E}">
        <p14:creationId xmlns:p14="http://schemas.microsoft.com/office/powerpoint/2010/main" val="370867840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60">
          <p15:clr>
            <a:srgbClr val="F26B43"/>
          </p15:clr>
        </p15:guide>
        <p15:guide id="10" pos="179">
          <p15:clr>
            <a:srgbClr val="F26B43"/>
          </p15:clr>
        </p15:guide>
        <p15:guide id="29" orient="horz" pos="180">
          <p15:clr>
            <a:srgbClr val="A4A3A4"/>
          </p15:clr>
        </p15:guide>
        <p15:guide id="34" orient="horz" pos="541">
          <p15:clr>
            <a:srgbClr val="A4A3A4"/>
          </p15:clr>
        </p15:guide>
        <p15:guide id="35" orient="horz" pos="720">
          <p15:clr>
            <a:srgbClr val="F26B43"/>
          </p15:clr>
        </p15:guide>
        <p15:guide id="37" orient="horz" pos="901">
          <p15:clr>
            <a:srgbClr val="A4A3A4"/>
          </p15:clr>
        </p15:guide>
        <p15:guide id="38" orient="horz" pos="1080">
          <p15:clr>
            <a:srgbClr val="F26B43"/>
          </p15:clr>
        </p15:guide>
        <p15:guide id="39" orient="horz" pos="1260">
          <p15:clr>
            <a:srgbClr val="A4A3A4"/>
          </p15:clr>
        </p15:guide>
        <p15:guide id="40" orient="horz" pos="1440">
          <p15:clr>
            <a:srgbClr val="F26B43"/>
          </p15:clr>
        </p15:guide>
        <p15:guide id="41" orient="horz" pos="1621">
          <p15:clr>
            <a:srgbClr val="A4A3A4"/>
          </p15:clr>
        </p15:guide>
        <p15:guide id="42" orient="horz" pos="1800">
          <p15:clr>
            <a:srgbClr val="F26B43"/>
          </p15:clr>
        </p15:guide>
        <p15:guide id="43" orient="horz" pos="1981">
          <p15:clr>
            <a:srgbClr val="A4A3A4"/>
          </p15:clr>
        </p15:guide>
        <p15:guide id="44" orient="horz" pos="2160">
          <p15:clr>
            <a:srgbClr val="F26B43"/>
          </p15:clr>
        </p15:guide>
        <p15:guide id="45" orient="horz" pos="2341">
          <p15:clr>
            <a:srgbClr val="A4A3A4"/>
          </p15:clr>
        </p15:guide>
        <p15:guide id="46" orient="horz" pos="2520">
          <p15:clr>
            <a:srgbClr val="F26B43"/>
          </p15:clr>
        </p15:guide>
        <p15:guide id="47" orient="horz" pos="2702">
          <p15:clr>
            <a:srgbClr val="A4A3A4"/>
          </p15:clr>
        </p15:guide>
        <p15:guide id="48" orient="horz" pos="2880">
          <p15:clr>
            <a:srgbClr val="F26B43"/>
          </p15:clr>
        </p15:guide>
        <p15:guide id="49" orient="horz" pos="3062">
          <p15:clr>
            <a:srgbClr val="A4A3A4"/>
          </p15:clr>
        </p15:guide>
        <p15:guide id="65" pos="359">
          <p15:clr>
            <a:srgbClr val="A4A3A4"/>
          </p15:clr>
        </p15:guide>
        <p15:guide id="66" pos="539">
          <p15:clr>
            <a:srgbClr val="F26B43"/>
          </p15:clr>
        </p15:guide>
        <p15:guide id="67" pos="720">
          <p15:clr>
            <a:srgbClr val="A4A3A4"/>
          </p15:clr>
        </p15:guide>
        <p15:guide id="68" pos="899">
          <p15:clr>
            <a:srgbClr val="F26B43"/>
          </p15:clr>
        </p15:guide>
        <p15:guide id="69" pos="1079">
          <p15:clr>
            <a:srgbClr val="A4A3A4"/>
          </p15:clr>
        </p15:guide>
        <p15:guide id="70" pos="1259">
          <p15:clr>
            <a:srgbClr val="F26B43"/>
          </p15:clr>
        </p15:guide>
        <p15:guide id="71" pos="1440">
          <p15:clr>
            <a:srgbClr val="A4A3A4"/>
          </p15:clr>
        </p15:guide>
        <p15:guide id="72" pos="1620">
          <p15:clr>
            <a:srgbClr val="F26B43"/>
          </p15:clr>
        </p15:guide>
        <p15:guide id="73" pos="1799">
          <p15:clr>
            <a:srgbClr val="A4A3A4"/>
          </p15:clr>
        </p15:guide>
        <p15:guide id="74" pos="1980">
          <p15:clr>
            <a:srgbClr val="F26B43"/>
          </p15:clr>
        </p15:guide>
        <p15:guide id="76" pos="2159">
          <p15:clr>
            <a:srgbClr val="A4A3A4"/>
          </p15:clr>
        </p15:guide>
        <p15:guide id="77" pos="2340">
          <p15:clr>
            <a:srgbClr val="F26B43"/>
          </p15:clr>
        </p15:guide>
        <p15:guide id="78" pos="2519">
          <p15:clr>
            <a:srgbClr val="A4A3A4"/>
          </p15:clr>
        </p15:guide>
        <p15:guide id="79" pos="2699">
          <p15:clr>
            <a:srgbClr val="F26B43"/>
          </p15:clr>
        </p15:guide>
        <p15:guide id="80" pos="2879">
          <p15:clr>
            <a:srgbClr val="A4A3A4"/>
          </p15:clr>
        </p15:guide>
        <p15:guide id="81" pos="3060">
          <p15:clr>
            <a:srgbClr val="F26B43"/>
          </p15:clr>
        </p15:guide>
        <p15:guide id="82" pos="3239">
          <p15:clr>
            <a:srgbClr val="A4A3A4"/>
          </p15:clr>
        </p15:guide>
        <p15:guide id="83" pos="3418">
          <p15:clr>
            <a:srgbClr val="F26B43"/>
          </p15:clr>
        </p15:guide>
        <p15:guide id="85" pos="3599">
          <p15:clr>
            <a:srgbClr val="A4A3A4"/>
          </p15:clr>
        </p15:guide>
        <p15:guide id="86" pos="3780">
          <p15:clr>
            <a:srgbClr val="F26B43"/>
          </p15:clr>
        </p15:guide>
        <p15:guide id="87" pos="3959">
          <p15:clr>
            <a:srgbClr val="A4A3A4"/>
          </p15:clr>
        </p15:guide>
        <p15:guide id="88" pos="4139">
          <p15:clr>
            <a:srgbClr val="F26B43"/>
          </p15:clr>
        </p15:guide>
        <p15:guide id="89" pos="4320">
          <p15:clr>
            <a:srgbClr val="A4A3A4"/>
          </p15:clr>
        </p15:guide>
        <p15:guide id="90" pos="4499">
          <p15:clr>
            <a:srgbClr val="F26B43"/>
          </p15:clr>
        </p15:guide>
        <p15:guide id="91" pos="4679">
          <p15:clr>
            <a:srgbClr val="A4A3A4"/>
          </p15:clr>
        </p15:guide>
        <p15:guide id="92" pos="4859">
          <p15:clr>
            <a:srgbClr val="F26B43"/>
          </p15:clr>
        </p15:guide>
        <p15:guide id="93" pos="5039">
          <p15:clr>
            <a:srgbClr val="A4A3A4"/>
          </p15:clr>
        </p15:guide>
        <p15:guide id="94" pos="5220">
          <p15:clr>
            <a:srgbClr val="F26B43"/>
          </p15:clr>
        </p15:guide>
        <p15:guide id="95" pos="5399">
          <p15:clr>
            <a:srgbClr val="A4A3A4"/>
          </p15:clr>
        </p15:guide>
        <p15:guide id="96" pos="557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2968" y="452967"/>
            <a:ext cx="11294533" cy="82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Modifiez le style du titre</a:t>
            </a:r>
            <a:endParaRPr lang="en-GB" altLang="en-US"/>
          </a:p>
        </p:txBody>
      </p:sp>
      <p:sp>
        <p:nvSpPr>
          <p:cNvPr id="2051" name="Text Placeholder 2"/>
          <p:cNvSpPr>
            <a:spLocks noGrp="1"/>
          </p:cNvSpPr>
          <p:nvPr>
            <p:ph type="body" idx="1"/>
          </p:nvPr>
        </p:nvSpPr>
        <p:spPr bwMode="auto">
          <a:xfrm>
            <a:off x="448735" y="1739180"/>
            <a:ext cx="11298767" cy="421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5" name="Text Placeholder 10"/>
          <p:cNvSpPr txBox="1">
            <a:spLocks/>
          </p:cNvSpPr>
          <p:nvPr/>
        </p:nvSpPr>
        <p:spPr>
          <a:xfrm>
            <a:off x="448733" y="5962653"/>
            <a:ext cx="366680" cy="446615"/>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lang="en-GB" sz="1067">
                <a:solidFill>
                  <a:srgbClr val="FFFFFF"/>
                </a:solidFill>
                <a:latin typeface="Helvetica 75 Bold" panose="020B0804020202020204" pitchFamily="34" charset="0"/>
              </a:rPr>
              <a:pPr>
                <a:lnSpc>
                  <a:spcPct val="85000"/>
                </a:lnSpc>
                <a:spcAft>
                  <a:spcPts val="1600"/>
                </a:spcAft>
                <a:buClr>
                  <a:srgbClr val="FFFFFF"/>
                </a:buClr>
                <a:defRPr/>
              </a:pPr>
              <a:t>‹N°›</a:t>
            </a:fld>
            <a:endParaRPr lang="en-GB" sz="1067">
              <a:solidFill>
                <a:srgbClr val="FFFFFF"/>
              </a:solidFill>
              <a:latin typeface="Helvetica 75 Bold" panose="020B0804020202020204" pitchFamily="34" charset="0"/>
            </a:endParaRPr>
          </a:p>
        </p:txBody>
      </p:sp>
      <p:sp>
        <p:nvSpPr>
          <p:cNvPr id="2" name="MSIPCMContentMarking" descr="{&quot;HashCode&quot;:-309203560,&quot;Placement&quot;:&quot;Footer&quot;,&quot;Top&quot;:523.8,&quot;Left&quot;:435.058655,&quot;SlideWidth&quot;:960,&quot;SlideHeight&quot;:540}">
            <a:extLst>
              <a:ext uri="{FF2B5EF4-FFF2-40B4-BE49-F238E27FC236}">
                <a16:creationId xmlns:a16="http://schemas.microsoft.com/office/drawing/2014/main" id="{190DF64F-BBB6-4B0B-B77A-57846C3521D9}"/>
              </a:ext>
            </a:extLst>
          </p:cNvPr>
          <p:cNvSpPr txBox="1"/>
          <p:nvPr/>
        </p:nvSpPr>
        <p:spPr>
          <a:xfrm>
            <a:off x="5525246" y="6693577"/>
            <a:ext cx="1141511" cy="123111"/>
          </a:xfrm>
          <a:prstGeom prst="rect">
            <a:avLst/>
          </a:prstGeom>
          <a:noFill/>
        </p:spPr>
        <p:txBody>
          <a:bodyPr vert="horz" wrap="square" lIns="0" tIns="0" rIns="0" bIns="0" rtlCol="0" anchor="ctr" anchorCtr="1">
            <a:spAutoFit/>
          </a:bodyPr>
          <a:lstStyle/>
          <a:p>
            <a:pPr algn="ctr">
              <a:spcBef>
                <a:spcPts val="0"/>
              </a:spcBef>
              <a:spcAft>
                <a:spcPts val="0"/>
              </a:spcAft>
            </a:pPr>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63095485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transition spd="med">
    <p:fade/>
  </p:transition>
  <p:hf hdr="0"/>
  <p:txStyles>
    <p:titleStyle>
      <a:lvl1pPr algn="l" defTabSz="685766" rtl="0" eaLnBrk="1" fontAlgn="base" hangingPunct="1">
        <a:lnSpc>
          <a:spcPct val="90000"/>
        </a:lnSpc>
        <a:spcBef>
          <a:spcPct val="0"/>
        </a:spcBef>
        <a:spcAft>
          <a:spcPts val="0"/>
        </a:spcAft>
        <a:defRPr sz="2667" kern="1200">
          <a:solidFill>
            <a:srgbClr val="FF6600"/>
          </a:solidFill>
          <a:latin typeface="Helvetica 75 Bold" panose="020B0804020202020204" pitchFamily="34" charset="0"/>
          <a:ea typeface="ＭＳ Ｐゴシック" pitchFamily="34" charset="-128"/>
          <a:cs typeface="+mj-cs"/>
        </a:defRPr>
      </a:lvl1pPr>
      <a:lvl2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2pPr>
      <a:lvl3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3pPr>
      <a:lvl4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4pPr>
      <a:lvl5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5pPr>
      <a:lvl6pPr marL="609570"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6pPr>
      <a:lvl7pPr marL="1219140"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7pPr>
      <a:lvl8pPr marL="1828709"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8pPr>
      <a:lvl9pPr marL="2438278"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9pPr>
    </p:titleStyle>
    <p:bodyStyle>
      <a:lvl1pPr algn="l" defTabSz="685766" rtl="0" eaLnBrk="1" fontAlgn="base" hangingPunct="1">
        <a:lnSpc>
          <a:spcPct val="90000"/>
        </a:lnSpc>
        <a:spcBef>
          <a:spcPct val="0"/>
        </a:spcBef>
        <a:spcAft>
          <a:spcPts val="1067"/>
        </a:spcAft>
        <a:buFont typeface="Arial" pitchFamily="34" charset="0"/>
        <a:defRPr sz="1867" kern="1200">
          <a:solidFill>
            <a:srgbClr val="FF6600"/>
          </a:solidFill>
          <a:latin typeface="Helvetica 75 Bold" panose="020B0804020202020204" pitchFamily="34" charset="0"/>
          <a:ea typeface="ＭＳ Ｐゴシック" pitchFamily="34" charset="-128"/>
          <a:cs typeface="+mn-cs"/>
        </a:defRPr>
      </a:lvl1pPr>
      <a:lvl2pPr algn="l" defTabSz="685766" rtl="0" eaLnBrk="1" fontAlgn="base" hangingPunct="1">
        <a:lnSpc>
          <a:spcPct val="90000"/>
        </a:lnSpc>
        <a:spcBef>
          <a:spcPct val="0"/>
        </a:spcBef>
        <a:spcAft>
          <a:spcPts val="1067"/>
        </a:spcAft>
        <a:buFont typeface="Arial" pitchFamily="34" charset="0"/>
        <a:defRPr sz="1867" kern="1200">
          <a:solidFill>
            <a:schemeClr val="tx1"/>
          </a:solidFill>
          <a:latin typeface="Helvetica 75 Bold" panose="020B0804020202020204" pitchFamily="34" charset="0"/>
          <a:ea typeface="ＭＳ Ｐゴシック" pitchFamily="34" charset="-128"/>
          <a:cs typeface="+mn-cs"/>
        </a:defRPr>
      </a:lvl2pPr>
      <a:lvl3pPr marL="177792" indent="-177792" algn="l" defTabSz="685766"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3pPr>
      <a:lvl4pPr marL="361934" indent="-179909" algn="l" defTabSz="685766"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4pPr>
      <a:lvl5pPr marL="541840" indent="-179909" algn="l" defTabSz="685766" rtl="0" eaLnBrk="1" fontAlgn="base" hangingPunct="1">
        <a:lnSpc>
          <a:spcPct val="90000"/>
        </a:lnSpc>
        <a:spcBef>
          <a:spcPct val="0"/>
        </a:spcBef>
        <a:spcAft>
          <a:spcPts val="1067"/>
        </a:spcAft>
        <a:buClr>
          <a:schemeClr val="bg2"/>
        </a:buClr>
        <a:buFont typeface="Wingdings" panose="05000000000000000000" pitchFamily="2" charset="2"/>
        <a:buChar char="§"/>
        <a:defRPr sz="1867" kern="1200">
          <a:solidFill>
            <a:schemeClr val="tx1"/>
          </a:solidFill>
          <a:latin typeface="Helvetica 75 Bold" panose="020B0804020202020204" pitchFamily="34" charset="0"/>
          <a:ea typeface="ＭＳ Ｐゴシック" pitchFamily="34" charset="-128"/>
          <a:cs typeface="+mn-cs"/>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7601" y="357717"/>
            <a:ext cx="11355300" cy="988483"/>
          </a:xfrm>
          <a:prstGeom prst="rect">
            <a:avLst/>
          </a:prstGeom>
        </p:spPr>
        <p:txBody>
          <a:bodyPr vert="horz" lIns="0" tIns="0" rIns="0" bIns="0" rtlCol="0" anchor="t" anchorCtr="0">
            <a:noAutofit/>
          </a:bodyPr>
          <a:lstStyle/>
          <a:p>
            <a:r>
              <a:rPr lang="en-US" noProof="0" dirty="0" err="1"/>
              <a:t>Cliquez</a:t>
            </a:r>
            <a:r>
              <a:rPr lang="en-US" noProof="0" dirty="0"/>
              <a:t> </a:t>
            </a:r>
            <a:r>
              <a:rPr lang="en-US" noProof="0" dirty="0" err="1"/>
              <a:t>ici</a:t>
            </a:r>
            <a:r>
              <a:rPr lang="en-US" noProof="0" dirty="0"/>
              <a:t> pour </a:t>
            </a:r>
            <a:r>
              <a:rPr lang="en-US" noProof="0" dirty="0" err="1"/>
              <a:t>saisir</a:t>
            </a:r>
            <a:r>
              <a:rPr lang="en-US" noProof="0" dirty="0"/>
              <a:t> le </a:t>
            </a:r>
            <a:r>
              <a:rPr lang="en-US" noProof="0" dirty="0" err="1"/>
              <a:t>texte</a:t>
            </a:r>
            <a:endParaRPr lang="en-US" noProof="0" dirty="0"/>
          </a:p>
        </p:txBody>
      </p:sp>
      <p:sp>
        <p:nvSpPr>
          <p:cNvPr id="3" name="Text Placeholder 2"/>
          <p:cNvSpPr>
            <a:spLocks noGrp="1"/>
          </p:cNvSpPr>
          <p:nvPr>
            <p:ph type="body" idx="1"/>
          </p:nvPr>
        </p:nvSpPr>
        <p:spPr>
          <a:xfrm>
            <a:off x="417601" y="1574801"/>
            <a:ext cx="11355300" cy="4493684"/>
          </a:xfrm>
          <a:prstGeom prst="rect">
            <a:avLst/>
          </a:prstGeom>
        </p:spPr>
        <p:txBody>
          <a:bodyPr vert="horz" lIns="0" tIns="0" rIns="0" bIns="0" rtlCol="0">
            <a:noAutofit/>
          </a:bodyPr>
          <a:lstStyle/>
          <a:p>
            <a:pPr lvl="0"/>
            <a:r>
              <a:rPr lang="fr-FR" noProof="0"/>
              <a:t>Modifier le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fld id="{8702007A-2642-4DC4-A457-FD791426C840}" type="slidenum">
              <a:rPr kumimoji="0" lang="en-US" sz="1067"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1219170" rtl="0" eaLnBrk="1" fontAlgn="base" latinLnBrk="0" hangingPunct="1">
                <a:lnSpc>
                  <a:spcPct val="85000"/>
                </a:lnSpc>
                <a:spcBef>
                  <a:spcPct val="0"/>
                </a:spcBef>
                <a:spcAft>
                  <a:spcPts val="1600"/>
                </a:spcAft>
                <a:buClr>
                  <a:srgbClr val="FFFFFF"/>
                </a:buClr>
                <a:buSzTx/>
                <a:buFont typeface="Helvetica 75" panose="020B0804020202020204" pitchFamily="34" charset="0"/>
                <a:buNone/>
                <a:tabLst/>
                <a:defRPr/>
              </a:pPr>
              <a:t>‹N°›</a:t>
            </a:fld>
            <a:endParaRPr kumimoji="0" lang="en-US" sz="1067" b="0" i="0" u="none" strike="noStrike" kern="1200" cap="none" spc="0" normalizeH="0" baseline="0" noProof="0" dirty="0">
              <a:ln>
                <a:noFill/>
              </a:ln>
              <a:solidFill>
                <a:schemeClr val="tx1"/>
              </a:solidFill>
              <a:effectLst/>
              <a:uLnTx/>
              <a:uFillTx/>
              <a:latin typeface="Helvetica 75 Bold" panose="020B0804020202020204" pitchFamily="34" charset="0"/>
              <a:ea typeface="+mn-ea"/>
              <a:cs typeface="+mn-cs"/>
            </a:endParaRPr>
          </a:p>
        </p:txBody>
      </p:sp>
      <p:sp>
        <p:nvSpPr>
          <p:cNvPr id="4" name="ZoneTexte 3">
            <a:extLst>
              <a:ext uri="{FF2B5EF4-FFF2-40B4-BE49-F238E27FC236}">
                <a16:creationId xmlns:a16="http://schemas.microsoft.com/office/drawing/2014/main" id="{C8FECFC0-24E3-D4B1-EC76-6BA8F82C0E12}"/>
              </a:ext>
            </a:extLst>
          </p:cNvPr>
          <p:cNvSpPr txBox="1"/>
          <p:nvPr userDrawn="1">
            <p:extLst>
              <p:ext uri="{1162E1C5-73C7-4A58-AE30-91384D911F3F}">
                <p184:classification xmlns:p184="http://schemas.microsoft.com/office/powerpoint/2018/4/main" val="ftr"/>
              </p:ext>
            </p:extLst>
          </p:nvPr>
        </p:nvSpPr>
        <p:spPr>
          <a:xfrm>
            <a:off x="5649913" y="66725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20938739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1219170" rtl="0" eaLnBrk="1" latinLnBrk="0" hangingPunct="1">
        <a:lnSpc>
          <a:spcPct val="90000"/>
        </a:lnSpc>
        <a:spcBef>
          <a:spcPct val="0"/>
        </a:spcBef>
        <a:buNone/>
        <a:defRPr sz="2667" kern="1200" spc="-27" baseline="0">
          <a:solidFill>
            <a:schemeClr val="tx1"/>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baseline="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72.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0.jpeg"/><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1.jpeg"/><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2.jpeg"/><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73.xml"/><Relationship Id="rId4" Type="http://schemas.openxmlformats.org/officeDocument/2006/relationships/image" Target="../media/image2.jpe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73.xml"/><Relationship Id="rId4" Type="http://schemas.openxmlformats.org/officeDocument/2006/relationships/image" Target="../media/image2.jpeg"/></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73.xml"/><Relationship Id="rId4" Type="http://schemas.openxmlformats.org/officeDocument/2006/relationships/image" Target="../media/image2.jpeg"/></Relationships>
</file>

<file path=ppt/slides/_rels/slide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jpeg"/><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73.xml"/><Relationship Id="rId4" Type="http://schemas.openxmlformats.org/officeDocument/2006/relationships/image" Target="../media/image2.jpeg"/></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3.xml"/></Relationships>
</file>

<file path=ppt/slides/_rels/slide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3.xml"/></Relationships>
</file>

<file path=ppt/slides/_rels/slide2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74.xml"/><Relationship Id="rId4" Type="http://schemas.openxmlformats.org/officeDocument/2006/relationships/image" Target="../media/image2.jpeg"/></Relationships>
</file>

<file path=ppt/slides/_rels/slide2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74.xml"/><Relationship Id="rId4" Type="http://schemas.openxmlformats.org/officeDocument/2006/relationships/image" Target="../media/image2.jpeg"/></Relationships>
</file>

<file path=ppt/slides/_rels/slide2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5.jpeg"/><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73.xml"/><Relationship Id="rId5" Type="http://schemas.openxmlformats.org/officeDocument/2006/relationships/image" Target="../media/image14.jpeg"/><Relationship Id="rId4" Type="http://schemas.openxmlformats.org/officeDocument/2006/relationships/image" Target="../media/image2.jpe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73.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3.xml"/><Relationship Id="rId4" Type="http://schemas.openxmlformats.org/officeDocument/2006/relationships/image" Target="../media/image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 5" descr="Une image contenant Néon, Caractère coloré, obscurité, Ambré&#10;&#10;Le contenu généré par l’IA peut être incorrect.">
            <a:extLst>
              <a:ext uri="{FF2B5EF4-FFF2-40B4-BE49-F238E27FC236}">
                <a16:creationId xmlns:a16="http://schemas.microsoft.com/office/drawing/2014/main" id="{B3FF2B2A-5224-2267-863B-1F4AFD8271A3}"/>
              </a:ext>
            </a:extLst>
          </p:cNvPr>
          <p:cNvPicPr>
            <a:picLocks noChangeAspect="1"/>
          </p:cNvPicPr>
          <p:nvPr/>
        </p:nvPicPr>
        <p:blipFill>
          <a:blip r:embed="rId2" cstate="email">
            <a:extLst>
              <a:ext uri="{28A0092B-C50C-407E-A947-70E740481C1C}">
                <a14:useLocalDpi xmlns:a14="http://schemas.microsoft.com/office/drawing/2010/main"/>
              </a:ext>
            </a:extLst>
          </a:blip>
          <a:srcRect b="-1"/>
          <a:stretch>
            <a:fillRect/>
          </a:stretch>
        </p:blipFill>
        <p:spPr>
          <a:xfrm>
            <a:off x="4883025" y="2824793"/>
            <a:ext cx="7308975" cy="3364992"/>
          </a:xfrm>
          <a:custGeom>
            <a:avLst/>
            <a:gdLst/>
            <a:ahLst/>
            <a:cxnLst/>
            <a:rect l="l" t="t" r="r" b="b"/>
            <a:pathLst>
              <a:path w="7308975" h="3364992">
                <a:moveTo>
                  <a:pt x="1210305" y="0"/>
                </a:moveTo>
                <a:lnTo>
                  <a:pt x="7308975" y="0"/>
                </a:lnTo>
                <a:lnTo>
                  <a:pt x="7308975" y="3364992"/>
                </a:lnTo>
                <a:lnTo>
                  <a:pt x="0" y="3364992"/>
                </a:lnTo>
                <a:lnTo>
                  <a:pt x="62981" y="3295722"/>
                </a:lnTo>
                <a:cubicBezTo>
                  <a:pt x="684692" y="2543371"/>
                  <a:pt x="1098874" y="1539884"/>
                  <a:pt x="1192705" y="421793"/>
                </a:cubicBezTo>
                <a:close/>
              </a:path>
            </a:pathLst>
          </a:custGeom>
        </p:spPr>
      </p:pic>
      <p:sp>
        <p:nvSpPr>
          <p:cNvPr id="5" name="Espace réservé du numéro de diapositive 4">
            <a:extLst>
              <a:ext uri="{FF2B5EF4-FFF2-40B4-BE49-F238E27FC236}">
                <a16:creationId xmlns:a16="http://schemas.microsoft.com/office/drawing/2014/main" id="{BB23EF12-93BE-B80D-3F79-95C2B5592063}"/>
              </a:ext>
            </a:extLst>
          </p:cNvPr>
          <p:cNvSpPr>
            <a:spLocks noGrp="1"/>
          </p:cNvSpPr>
          <p:nvPr>
            <p:ph type="sldNum" sz="quarter" idx="4294967295"/>
          </p:nvPr>
        </p:nvSpPr>
        <p:spPr>
          <a:xfrm>
            <a:off x="9448800" y="6356350"/>
            <a:ext cx="2743200" cy="365125"/>
          </a:xfrm>
          <a:prstGeom prst="rect">
            <a:avLst/>
          </a:prstGeom>
        </p:spPr>
        <p:txBody>
          <a:bodyPr>
            <a:normAutofit lnSpcReduction="10000"/>
          </a:bodyPr>
          <a:lstStyle/>
          <a:p>
            <a:pPr>
              <a:spcAft>
                <a:spcPts val="600"/>
              </a:spcAft>
            </a:pPr>
            <a:fld id="{27C6CCC6-2BE5-4E42-96A4-D1E8E81A3D8E}" type="slidenum">
              <a:rPr lang="fr-FR">
                <a:solidFill>
                  <a:schemeClr val="bg1"/>
                </a:solidFill>
              </a:rPr>
              <a:pPr>
                <a:spcAft>
                  <a:spcPts val="600"/>
                </a:spcAft>
              </a:pPr>
              <a:t>1</a:t>
            </a:fld>
            <a:endParaRPr lang="fr-FR">
              <a:solidFill>
                <a:schemeClr val="bg1"/>
              </a:solidFill>
            </a:endParaRPr>
          </a:p>
        </p:txBody>
      </p:sp>
      <p:sp>
        <p:nvSpPr>
          <p:cNvPr id="2" name="Titre 1"/>
          <p:cNvSpPr>
            <a:spLocks noGrp="1"/>
          </p:cNvSpPr>
          <p:nvPr>
            <p:ph type="ctrTitle" idx="4294967295"/>
          </p:nvPr>
        </p:nvSpPr>
        <p:spPr>
          <a:xfrm>
            <a:off x="0" y="667482"/>
            <a:ext cx="6682154" cy="1469048"/>
          </a:xfrm>
        </p:spPr>
        <p:txBody>
          <a:bodyPr>
            <a:normAutofit/>
          </a:bodyPr>
          <a:lstStyle/>
          <a:p>
            <a:pPr algn="ctr"/>
            <a:r>
              <a:rPr lang="fr-FR" sz="4800" dirty="0">
                <a:latin typeface="Helvetica 75 Bold" panose="02000803050000020004" pitchFamily="2" charset="0"/>
              </a:rPr>
              <a:t>Prélude à une société post quantique</a:t>
            </a:r>
          </a:p>
        </p:txBody>
      </p:sp>
      <p:sp>
        <p:nvSpPr>
          <p:cNvPr id="3" name="Sous-titre 2"/>
          <p:cNvSpPr>
            <a:spLocks noGrp="1"/>
          </p:cNvSpPr>
          <p:nvPr>
            <p:ph type="subTitle" idx="4294967295"/>
          </p:nvPr>
        </p:nvSpPr>
        <p:spPr>
          <a:xfrm>
            <a:off x="120894" y="2555509"/>
            <a:ext cx="5820508" cy="2416175"/>
          </a:xfrm>
        </p:spPr>
        <p:txBody>
          <a:bodyPr vert="horz" lIns="91440" tIns="45720" rIns="91440" bIns="45720" rtlCol="0">
            <a:noAutofit/>
          </a:bodyPr>
          <a:lstStyle/>
          <a:p>
            <a:pPr marL="0" indent="0" algn="l">
              <a:buNone/>
            </a:pPr>
            <a:r>
              <a:rPr lang="fr-FR" sz="3600" dirty="0">
                <a:solidFill>
                  <a:srgbClr val="FF6600"/>
                </a:solidFill>
                <a:latin typeface="Helvetica 75 Bold" panose="02000803050000020004" pitchFamily="2" charset="0"/>
                <a:ea typeface="+mj-ea"/>
                <a:cs typeface="+mj-cs"/>
              </a:rPr>
              <a:t>L'intrication quantique : </a:t>
            </a:r>
            <a:br>
              <a:rPr lang="fr-FR" sz="3600" dirty="0">
                <a:solidFill>
                  <a:srgbClr val="FF6600"/>
                </a:solidFill>
                <a:latin typeface="Helvetica 75 Bold" panose="02000803050000020004" pitchFamily="2" charset="0"/>
                <a:ea typeface="+mj-ea"/>
                <a:cs typeface="+mj-cs"/>
              </a:rPr>
            </a:br>
            <a:r>
              <a:rPr lang="fr-FR" sz="3600" dirty="0">
                <a:solidFill>
                  <a:srgbClr val="FF6600"/>
                </a:solidFill>
                <a:latin typeface="Helvetica 75 Bold" panose="02000803050000020004" pitchFamily="2" charset="0"/>
                <a:ea typeface="+mj-ea"/>
                <a:cs typeface="+mj-cs"/>
              </a:rPr>
              <a:t>Un voyage à travers l'Histoire et les concepts</a:t>
            </a:r>
          </a:p>
          <a:p>
            <a:pPr algn="l"/>
            <a:endParaRPr lang="fr-FR" sz="1600" dirty="0">
              <a:latin typeface="Helvetica 75 Bold" panose="02000803050000020004" pitchFamily="2" charset="0"/>
            </a:endParaRPr>
          </a:p>
          <a:p>
            <a:pPr marL="0" indent="0" algn="l">
              <a:buNone/>
            </a:pPr>
            <a:r>
              <a:rPr lang="fr-FR" sz="1600" dirty="0">
                <a:latin typeface="Helvetica 75 Bold" panose="02000803050000020004" pitchFamily="2" charset="0"/>
              </a:rPr>
              <a:t>Jean-Louis QUERI</a:t>
            </a:r>
            <a:br>
              <a:rPr lang="fr-FR" sz="1600" dirty="0">
                <a:latin typeface="Helvetica 75 Bold" panose="02000803050000020004" pitchFamily="2" charset="0"/>
              </a:rPr>
            </a:br>
            <a:r>
              <a:rPr lang="fr-FR" sz="1600" dirty="0">
                <a:latin typeface="Helvetica 75 Bold" panose="02000803050000020004" pitchFamily="2" charset="0"/>
              </a:rPr>
              <a:t>Enseignant Département Physique</a:t>
            </a:r>
            <a:br>
              <a:rPr lang="fr-FR" sz="1600" dirty="0">
                <a:latin typeface="Helvetica 75 Bold" panose="02000803050000020004" pitchFamily="2" charset="0"/>
              </a:rPr>
            </a:br>
            <a:r>
              <a:rPr lang="fr-FR" sz="1600" dirty="0">
                <a:latin typeface="Helvetica 75 Bold" panose="02000803050000020004" pitchFamily="2" charset="0"/>
              </a:rPr>
              <a:t>Institut Polytechnique de Paris</a:t>
            </a:r>
          </a:p>
        </p:txBody>
      </p:sp>
      <p:pic>
        <p:nvPicPr>
          <p:cNvPr id="9" name="Image 8" descr="Une image contenant texte, Police, logo, Graphique&#10;&#10;Le contenu généré par l’IA peut être incorrect.">
            <a:extLst>
              <a:ext uri="{FF2B5EF4-FFF2-40B4-BE49-F238E27FC236}">
                <a16:creationId xmlns:a16="http://schemas.microsoft.com/office/drawing/2014/main" id="{D6AA8ADB-A430-009C-7B71-F0DF71D6E1E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3817" y="166468"/>
            <a:ext cx="5468183" cy="1961272"/>
          </a:xfrm>
          <a:prstGeom prst="rect">
            <a:avLst/>
          </a:prstGeom>
        </p:spPr>
      </p:pic>
      <p:grpSp>
        <p:nvGrpSpPr>
          <p:cNvPr id="8" name="Groupe 7">
            <a:extLst>
              <a:ext uri="{FF2B5EF4-FFF2-40B4-BE49-F238E27FC236}">
                <a16:creationId xmlns:a16="http://schemas.microsoft.com/office/drawing/2014/main" id="{B82733D3-5910-D7FA-F7F0-12781729D4CB}"/>
              </a:ext>
            </a:extLst>
          </p:cNvPr>
          <p:cNvGrpSpPr/>
          <p:nvPr/>
        </p:nvGrpSpPr>
        <p:grpSpPr>
          <a:xfrm>
            <a:off x="0" y="6169848"/>
            <a:ext cx="12192000" cy="688152"/>
            <a:chOff x="0" y="6163498"/>
            <a:chExt cx="12192000" cy="688152"/>
          </a:xfrm>
        </p:grpSpPr>
        <p:sp>
          <p:nvSpPr>
            <p:cNvPr id="10" name="Freeform 2">
              <a:extLst>
                <a:ext uri="{FF2B5EF4-FFF2-40B4-BE49-F238E27FC236}">
                  <a16:creationId xmlns:a16="http://schemas.microsoft.com/office/drawing/2014/main" id="{5490FC18-65B7-64BF-4806-924C0CFDD7E4}"/>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11" name="TextBox 3">
              <a:extLst>
                <a:ext uri="{FF2B5EF4-FFF2-40B4-BE49-F238E27FC236}">
                  <a16:creationId xmlns:a16="http://schemas.microsoft.com/office/drawing/2014/main" id="{AC64F2A3-9193-112E-285B-E585F8100D30}"/>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12" name="TextBox 4">
              <a:extLst>
                <a:ext uri="{FF2B5EF4-FFF2-40B4-BE49-F238E27FC236}">
                  <a16:creationId xmlns:a16="http://schemas.microsoft.com/office/drawing/2014/main" id="{AF962901-A153-F099-BE11-719232260DAB}"/>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378408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36842D-6EFE-55FC-277C-29CBA9BE95A4}"/>
              </a:ext>
            </a:extLst>
          </p:cNvPr>
          <p:cNvSpPr>
            <a:spLocks noGrp="1"/>
          </p:cNvSpPr>
          <p:nvPr>
            <p:ph type="title"/>
          </p:nvPr>
        </p:nvSpPr>
        <p:spPr>
          <a:xfrm>
            <a:off x="170688" y="118237"/>
            <a:ext cx="3770376" cy="1325563"/>
          </a:xfrm>
        </p:spPr>
        <p:txBody>
          <a:bodyPr/>
          <a:lstStyle/>
          <a:p>
            <a:r>
              <a:rPr lang="fr-FR" dirty="0">
                <a:latin typeface="Helvetica 75 Bold" panose="02000803050000020004" pitchFamily="2" charset="0"/>
              </a:rPr>
              <a:t>7. Les Quanta</a:t>
            </a:r>
          </a:p>
        </p:txBody>
      </p:sp>
      <p:sp>
        <p:nvSpPr>
          <p:cNvPr id="3" name="Espace réservé du contenu 2">
            <a:extLst>
              <a:ext uri="{FF2B5EF4-FFF2-40B4-BE49-F238E27FC236}">
                <a16:creationId xmlns:a16="http://schemas.microsoft.com/office/drawing/2014/main" id="{8A5DFC6B-A50B-D511-93C3-C07F9BF329FA}"/>
              </a:ext>
            </a:extLst>
          </p:cNvPr>
          <p:cNvSpPr>
            <a:spLocks noGrp="1"/>
          </p:cNvSpPr>
          <p:nvPr>
            <p:ph idx="1"/>
          </p:nvPr>
        </p:nvSpPr>
        <p:spPr>
          <a:xfrm>
            <a:off x="238125" y="933450"/>
            <a:ext cx="7644384" cy="4548759"/>
          </a:xfrm>
        </p:spPr>
        <p:txBody>
          <a:bodyPr vert="horz" lIns="91440" tIns="45720" rIns="91440" bIns="45720" rtlCol="0" anchor="t">
            <a:normAutofit/>
          </a:bodyPr>
          <a:lstStyle/>
          <a:p>
            <a:endParaRPr lang="fr-FR" sz="1800" dirty="0">
              <a:solidFill>
                <a:schemeClr val="tx1"/>
              </a:solidFill>
              <a:latin typeface="Helvetica 75"/>
            </a:endParaRPr>
          </a:p>
          <a:p>
            <a:endParaRPr lang="fr-FR" sz="1800" dirty="0">
              <a:solidFill>
                <a:schemeClr val="tx1"/>
              </a:solidFill>
              <a:latin typeface="Helvetica 75"/>
            </a:endParaRPr>
          </a:p>
        </p:txBody>
      </p:sp>
      <p:sp>
        <p:nvSpPr>
          <p:cNvPr id="4" name="Espace réservé du numéro de diapositive 3">
            <a:extLst>
              <a:ext uri="{FF2B5EF4-FFF2-40B4-BE49-F238E27FC236}">
                <a16:creationId xmlns:a16="http://schemas.microsoft.com/office/drawing/2014/main" id="{640EADC2-9348-EF41-1766-494468399F02}"/>
              </a:ext>
            </a:extLst>
          </p:cNvPr>
          <p:cNvSpPr>
            <a:spLocks noGrp="1"/>
          </p:cNvSpPr>
          <p:nvPr>
            <p:ph type="sldNum" sz="quarter" idx="4294967295"/>
          </p:nvPr>
        </p:nvSpPr>
        <p:spPr>
          <a:xfrm>
            <a:off x="9448800" y="6286500"/>
            <a:ext cx="2743200" cy="365125"/>
          </a:xfrm>
          <a:prstGeom prst="rect">
            <a:avLst/>
          </a:prstGeom>
        </p:spPr>
        <p:txBody>
          <a:bodyPr/>
          <a:lstStyle/>
          <a:p>
            <a:fld id="{27C6CCC6-2BE5-4E42-96A4-D1E8E81A3D8E}" type="slidenum">
              <a:rPr lang="fr-FR" smtClean="0"/>
              <a:t>10</a:t>
            </a:fld>
            <a:endParaRPr lang="fr-FR"/>
          </a:p>
        </p:txBody>
      </p:sp>
      <p:grpSp>
        <p:nvGrpSpPr>
          <p:cNvPr id="6" name="Groupe 5">
            <a:extLst>
              <a:ext uri="{FF2B5EF4-FFF2-40B4-BE49-F238E27FC236}">
                <a16:creationId xmlns:a16="http://schemas.microsoft.com/office/drawing/2014/main" id="{2CD328DF-EECB-B9C4-25DF-C1A706353031}"/>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407F8C1A-53DD-D11D-4942-3FB44841842A}"/>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B09059CF-1903-17E5-610A-BEAFD41824CC}"/>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9" name="TextBox 4">
              <a:extLst>
                <a:ext uri="{FF2B5EF4-FFF2-40B4-BE49-F238E27FC236}">
                  <a16:creationId xmlns:a16="http://schemas.microsoft.com/office/drawing/2014/main" id="{C2971AB1-CD34-0407-33DB-14B8D77BE05C}"/>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pic>
        <p:nvPicPr>
          <p:cNvPr id="17" name="Image 16" descr="Une image contenant texte, capture d’écran, nombre, conception">
            <a:extLst>
              <a:ext uri="{FF2B5EF4-FFF2-40B4-BE49-F238E27FC236}">
                <a16:creationId xmlns:a16="http://schemas.microsoft.com/office/drawing/2014/main" id="{5F4BF7A7-06BC-F8D2-4656-C36CE8B321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08835" y="161925"/>
            <a:ext cx="7612380" cy="6858000"/>
          </a:xfrm>
          <a:prstGeom prst="rect">
            <a:avLst/>
          </a:prstGeom>
        </p:spPr>
      </p:pic>
    </p:spTree>
    <p:extLst>
      <p:ext uri="{BB962C8B-B14F-4D97-AF65-F5344CB8AC3E}">
        <p14:creationId xmlns:p14="http://schemas.microsoft.com/office/powerpoint/2010/main" val="76970002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083DCD-8FFF-0B08-107F-31614B8D1451}"/>
              </a:ext>
            </a:extLst>
          </p:cNvPr>
          <p:cNvSpPr>
            <a:spLocks noGrp="1"/>
          </p:cNvSpPr>
          <p:nvPr>
            <p:ph type="title"/>
          </p:nvPr>
        </p:nvSpPr>
        <p:spPr>
          <a:xfrm>
            <a:off x="152400" y="140109"/>
            <a:ext cx="6724650" cy="459966"/>
          </a:xfrm>
        </p:spPr>
        <p:txBody>
          <a:bodyPr>
            <a:normAutofit fontScale="90000"/>
          </a:bodyPr>
          <a:lstStyle/>
          <a:p>
            <a:r>
              <a:rPr lang="fr-FR" sz="3600" dirty="0">
                <a:latin typeface="Helvetica 75 Bold" panose="02000803050000020004" pitchFamily="2" charset="0"/>
              </a:rPr>
              <a:t>8. L'interprétation de Copenhague</a:t>
            </a:r>
          </a:p>
        </p:txBody>
      </p:sp>
      <p:sp>
        <p:nvSpPr>
          <p:cNvPr id="3" name="Espace réservé du contenu 2">
            <a:extLst>
              <a:ext uri="{FF2B5EF4-FFF2-40B4-BE49-F238E27FC236}">
                <a16:creationId xmlns:a16="http://schemas.microsoft.com/office/drawing/2014/main" id="{D47D9131-4E32-C2F2-FA6E-57DA2427F081}"/>
              </a:ext>
            </a:extLst>
          </p:cNvPr>
          <p:cNvSpPr>
            <a:spLocks noGrp="1"/>
          </p:cNvSpPr>
          <p:nvPr>
            <p:ph idx="1"/>
          </p:nvPr>
        </p:nvSpPr>
        <p:spPr>
          <a:xfrm>
            <a:off x="281568" y="717649"/>
            <a:ext cx="11548481" cy="520601"/>
          </a:xfrm>
        </p:spPr>
        <p:txBody>
          <a:bodyPr vert="horz" lIns="91440" tIns="45720" rIns="91440" bIns="45720" rtlCol="0" anchor="t">
            <a:normAutofit fontScale="92500"/>
          </a:bodyPr>
          <a:lstStyle/>
          <a:p>
            <a:pPr marL="0" indent="0">
              <a:buNone/>
            </a:pPr>
            <a:r>
              <a:rPr lang="fr-FR" sz="2000" dirty="0">
                <a:solidFill>
                  <a:schemeClr val="tx1"/>
                </a:solidFill>
                <a:latin typeface="Helvetica 75"/>
              </a:rPr>
              <a:t>Niels Bohr et W Heisenberg posent les principes de bases qui seront présentés au congrès Solvay de 1927</a:t>
            </a:r>
          </a:p>
        </p:txBody>
      </p:sp>
      <p:sp>
        <p:nvSpPr>
          <p:cNvPr id="4" name="Espace réservé du numéro de diapositive 3">
            <a:extLst>
              <a:ext uri="{FF2B5EF4-FFF2-40B4-BE49-F238E27FC236}">
                <a16:creationId xmlns:a16="http://schemas.microsoft.com/office/drawing/2014/main" id="{2D5E43C8-6F19-2FA1-EFB2-9B0CFD9FA7A8}"/>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1</a:t>
            </a:fld>
            <a:endParaRPr lang="fr-FR"/>
          </a:p>
        </p:txBody>
      </p:sp>
      <p:pic>
        <p:nvPicPr>
          <p:cNvPr id="5" name="Image 4" descr="Une image contenant habits, personne, homme, costume&#10;&#10;Le contenu généré par l’IA peut être incorrect.">
            <a:extLst>
              <a:ext uri="{FF2B5EF4-FFF2-40B4-BE49-F238E27FC236}">
                <a16:creationId xmlns:a16="http://schemas.microsoft.com/office/drawing/2014/main" id="{F039F17F-D7A8-B702-2C59-E717FF1D4FD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16675" y="1238872"/>
            <a:ext cx="8574302" cy="4863617"/>
          </a:xfrm>
          <a:prstGeom prst="rect">
            <a:avLst/>
          </a:prstGeom>
        </p:spPr>
      </p:pic>
      <p:grpSp>
        <p:nvGrpSpPr>
          <p:cNvPr id="6" name="Groupe 5">
            <a:extLst>
              <a:ext uri="{FF2B5EF4-FFF2-40B4-BE49-F238E27FC236}">
                <a16:creationId xmlns:a16="http://schemas.microsoft.com/office/drawing/2014/main" id="{93FF4BFA-A0FB-1050-1E54-93B19658B988}"/>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37DB70BB-FDF5-93E9-1353-0DC558DA0C61}"/>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D3357EA1-7AC2-984C-CDB2-B7EAD25F2887}"/>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9" name="TextBox 4">
              <a:extLst>
                <a:ext uri="{FF2B5EF4-FFF2-40B4-BE49-F238E27FC236}">
                  <a16:creationId xmlns:a16="http://schemas.microsoft.com/office/drawing/2014/main" id="{6EAF33D7-0766-075A-2562-E6632E9DB20B}"/>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206634660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444506-797E-0AC4-0506-5586BB41DCD3}"/>
              </a:ext>
            </a:extLst>
          </p:cNvPr>
          <p:cNvSpPr>
            <a:spLocks noGrp="1"/>
          </p:cNvSpPr>
          <p:nvPr>
            <p:ph type="title"/>
          </p:nvPr>
        </p:nvSpPr>
        <p:spPr>
          <a:xfrm>
            <a:off x="123824" y="309127"/>
            <a:ext cx="3514725" cy="1719697"/>
          </a:xfrm>
        </p:spPr>
        <p:txBody>
          <a:bodyPr/>
          <a:lstStyle/>
          <a:p>
            <a:r>
              <a:rPr lang="fr-FR" sz="3600" dirty="0">
                <a:latin typeface="Helvetica 75 Bold" panose="02000803050000020004" pitchFamily="2" charset="0"/>
              </a:rPr>
              <a:t>9. Controverse Bohr / Einstein</a:t>
            </a:r>
          </a:p>
        </p:txBody>
      </p:sp>
      <p:sp>
        <p:nvSpPr>
          <p:cNvPr id="4" name="Espace réservé du numéro de diapositive 3">
            <a:extLst>
              <a:ext uri="{FF2B5EF4-FFF2-40B4-BE49-F238E27FC236}">
                <a16:creationId xmlns:a16="http://schemas.microsoft.com/office/drawing/2014/main" id="{765274E6-6C3F-D7FA-AB97-9783D9EAEC60}"/>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2</a:t>
            </a:fld>
            <a:endParaRPr lang="fr-FR"/>
          </a:p>
        </p:txBody>
      </p:sp>
      <p:pic>
        <p:nvPicPr>
          <p:cNvPr id="5" name="Image 4" descr="Une image contenant habits, Visage humain, personne, homme&#10;&#10;Le contenu généré par l’IA peut être incorrect.">
            <a:extLst>
              <a:ext uri="{FF2B5EF4-FFF2-40B4-BE49-F238E27FC236}">
                <a16:creationId xmlns:a16="http://schemas.microsoft.com/office/drawing/2014/main" id="{23A80E15-02AD-6E6F-CEA1-5B06656510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86226" y="1400174"/>
            <a:ext cx="4362822" cy="4804835"/>
          </a:xfrm>
          <a:prstGeom prst="rect">
            <a:avLst/>
          </a:prstGeom>
        </p:spPr>
      </p:pic>
      <p:grpSp>
        <p:nvGrpSpPr>
          <p:cNvPr id="6" name="Groupe 5">
            <a:extLst>
              <a:ext uri="{FF2B5EF4-FFF2-40B4-BE49-F238E27FC236}">
                <a16:creationId xmlns:a16="http://schemas.microsoft.com/office/drawing/2014/main" id="{1CC29755-3E97-95DC-5FF2-8BDA392CD382}"/>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6F4A3012-CD08-9116-2758-ECA03A21FF90}"/>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02EBC733-502A-D5A1-CBF9-447ADDEE8ACA}"/>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9" name="TextBox 4">
              <a:extLst>
                <a:ext uri="{FF2B5EF4-FFF2-40B4-BE49-F238E27FC236}">
                  <a16:creationId xmlns:a16="http://schemas.microsoft.com/office/drawing/2014/main" id="{C9B81052-816E-1C94-3B2A-7B977AB50303}"/>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
        <p:nvSpPr>
          <p:cNvPr id="11" name="Bulle narrative : ronde 10">
            <a:extLst>
              <a:ext uri="{FF2B5EF4-FFF2-40B4-BE49-F238E27FC236}">
                <a16:creationId xmlns:a16="http://schemas.microsoft.com/office/drawing/2014/main" id="{93D8BA41-C068-65D8-1BAB-FE6B23FD73CC}"/>
              </a:ext>
            </a:extLst>
          </p:cNvPr>
          <p:cNvSpPr/>
          <p:nvPr/>
        </p:nvSpPr>
        <p:spPr>
          <a:xfrm>
            <a:off x="8848724" y="4591050"/>
            <a:ext cx="2752725" cy="1114425"/>
          </a:xfrm>
          <a:prstGeom prst="wedgeEllipseCallout">
            <a:avLst>
              <a:gd name="adj1" fmla="val -180269"/>
              <a:gd name="adj2" fmla="val -23633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bg1"/>
                </a:solidFill>
              </a:rPr>
              <a:t>Arrêtez de dire à Dieu ce qu’il doit faire !</a:t>
            </a:r>
            <a:endParaRPr lang="fr-FR" sz="1600" dirty="0">
              <a:solidFill>
                <a:srgbClr val="FF7900"/>
              </a:solidFill>
            </a:endParaRPr>
          </a:p>
        </p:txBody>
      </p:sp>
      <p:sp>
        <p:nvSpPr>
          <p:cNvPr id="10" name="Bulle narrative : ronde 9">
            <a:extLst>
              <a:ext uri="{FF2B5EF4-FFF2-40B4-BE49-F238E27FC236}">
                <a16:creationId xmlns:a16="http://schemas.microsoft.com/office/drawing/2014/main" id="{8E05867D-B064-F9F4-61CC-A638AC160FF8}"/>
              </a:ext>
            </a:extLst>
          </p:cNvPr>
          <p:cNvSpPr/>
          <p:nvPr/>
        </p:nvSpPr>
        <p:spPr>
          <a:xfrm>
            <a:off x="4114800" y="85724"/>
            <a:ext cx="2609850" cy="1095375"/>
          </a:xfrm>
          <a:prstGeom prst="wedgeEllipseCallout">
            <a:avLst>
              <a:gd name="adj1" fmla="val 33791"/>
              <a:gd name="adj2" fmla="val 13499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bg1"/>
                </a:solidFill>
              </a:rPr>
              <a:t>Dieu ne joue pas aux dés.</a:t>
            </a:r>
          </a:p>
        </p:txBody>
      </p:sp>
    </p:spTree>
    <p:extLst>
      <p:ext uri="{BB962C8B-B14F-4D97-AF65-F5344CB8AC3E}">
        <p14:creationId xmlns:p14="http://schemas.microsoft.com/office/powerpoint/2010/main" val="194201832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44E6BF-3FDB-AE48-572F-E8BB68B9D6F8}"/>
              </a:ext>
            </a:extLst>
          </p:cNvPr>
          <p:cNvSpPr>
            <a:spLocks noGrp="1"/>
          </p:cNvSpPr>
          <p:nvPr>
            <p:ph type="title"/>
          </p:nvPr>
        </p:nvSpPr>
        <p:spPr>
          <a:xfrm>
            <a:off x="104775" y="191646"/>
            <a:ext cx="8924544" cy="484629"/>
          </a:xfrm>
        </p:spPr>
        <p:txBody>
          <a:bodyPr>
            <a:normAutofit fontScale="90000"/>
          </a:bodyPr>
          <a:lstStyle/>
          <a:p>
            <a:r>
              <a:rPr lang="fr-FR" sz="3200" dirty="0">
                <a:latin typeface="Helvetica 75 Bold" panose="02000803050000020004" pitchFamily="2" charset="0"/>
              </a:rPr>
              <a:t>10. Paradoxe EPR (Einstein, Podolsky et Rosen) </a:t>
            </a:r>
          </a:p>
        </p:txBody>
      </p:sp>
      <p:sp>
        <p:nvSpPr>
          <p:cNvPr id="3" name="Espace réservé du contenu 2">
            <a:extLst>
              <a:ext uri="{FF2B5EF4-FFF2-40B4-BE49-F238E27FC236}">
                <a16:creationId xmlns:a16="http://schemas.microsoft.com/office/drawing/2014/main" id="{7819E1E2-A8C1-76E5-6B9D-FD050843510F}"/>
              </a:ext>
            </a:extLst>
          </p:cNvPr>
          <p:cNvSpPr>
            <a:spLocks noGrp="1"/>
          </p:cNvSpPr>
          <p:nvPr>
            <p:ph idx="1"/>
          </p:nvPr>
        </p:nvSpPr>
        <p:spPr>
          <a:xfrm>
            <a:off x="134112" y="1006354"/>
            <a:ext cx="7985760" cy="844917"/>
          </a:xfrm>
        </p:spPr>
        <p:txBody>
          <a:bodyPr vert="horz" lIns="91440" tIns="45720" rIns="91440" bIns="45720" rtlCol="0" anchor="t">
            <a:normAutofit lnSpcReduction="10000"/>
          </a:bodyPr>
          <a:lstStyle/>
          <a:p>
            <a:r>
              <a:rPr lang="fr-FR" sz="2000" dirty="0">
                <a:solidFill>
                  <a:schemeClr val="tx1"/>
                </a:solidFill>
                <a:latin typeface="Helvetica 75 "/>
              </a:rPr>
              <a:t>Remise en question de la complétude de la mécanique quantique</a:t>
            </a:r>
          </a:p>
          <a:p>
            <a:r>
              <a:rPr lang="fr-FR" sz="2000" dirty="0">
                <a:solidFill>
                  <a:schemeClr val="tx1"/>
                </a:solidFill>
                <a:latin typeface="Helvetica 75 "/>
              </a:rPr>
              <a:t>1964 John Stewart Bell </a:t>
            </a:r>
          </a:p>
        </p:txBody>
      </p:sp>
      <p:sp>
        <p:nvSpPr>
          <p:cNvPr id="4" name="Espace réservé du numéro de diapositive 3">
            <a:extLst>
              <a:ext uri="{FF2B5EF4-FFF2-40B4-BE49-F238E27FC236}">
                <a16:creationId xmlns:a16="http://schemas.microsoft.com/office/drawing/2014/main" id="{9A53426A-5530-AB01-116F-87E88F7CE514}"/>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3</a:t>
            </a:fld>
            <a:endParaRPr lang="fr-FR"/>
          </a:p>
        </p:txBody>
      </p:sp>
      <p:pic>
        <p:nvPicPr>
          <p:cNvPr id="5" name="Image 4" descr="Une image contenant texte, capture d’écran, diagramme, Police&#10;&#10;Le contenu généré par l’IA peut être incorrect.">
            <a:extLst>
              <a:ext uri="{FF2B5EF4-FFF2-40B4-BE49-F238E27FC236}">
                <a16:creationId xmlns:a16="http://schemas.microsoft.com/office/drawing/2014/main" id="{73D3A26C-301A-9241-A6FF-3004DFB14FD2}"/>
              </a:ext>
            </a:extLst>
          </p:cNvPr>
          <p:cNvPicPr>
            <a:picLocks noChangeAspect="1"/>
          </p:cNvPicPr>
          <p:nvPr/>
        </p:nvPicPr>
        <p:blipFill>
          <a:blip r:embed="rId2" cstate="email">
            <a:alphaModFix/>
            <a:extLst>
              <a:ext uri="{28A0092B-C50C-407E-A947-70E740481C1C}">
                <a14:useLocalDpi xmlns:a14="http://schemas.microsoft.com/office/drawing/2010/main"/>
              </a:ext>
            </a:extLst>
          </a:blip>
          <a:stretch>
            <a:fillRect/>
          </a:stretch>
        </p:blipFill>
        <p:spPr>
          <a:xfrm>
            <a:off x="5240215" y="1561377"/>
            <a:ext cx="5589300" cy="3895461"/>
          </a:xfrm>
          <a:prstGeom prst="rect">
            <a:avLst/>
          </a:prstGeom>
          <a:effectLst>
            <a:softEdge rad="0"/>
          </a:effectLst>
        </p:spPr>
      </p:pic>
      <p:grpSp>
        <p:nvGrpSpPr>
          <p:cNvPr id="6" name="Groupe 5">
            <a:extLst>
              <a:ext uri="{FF2B5EF4-FFF2-40B4-BE49-F238E27FC236}">
                <a16:creationId xmlns:a16="http://schemas.microsoft.com/office/drawing/2014/main" id="{90632895-7F66-4125-41FA-5BAF36B77E93}"/>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D2577E4F-D208-C287-DCCD-9022E8D90E13}"/>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7D15D0EC-0B9E-F21B-B44B-0EE4CCA98EE6}"/>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9" name="TextBox 4">
              <a:extLst>
                <a:ext uri="{FF2B5EF4-FFF2-40B4-BE49-F238E27FC236}">
                  <a16:creationId xmlns:a16="http://schemas.microsoft.com/office/drawing/2014/main" id="{8AEA73D4-F28B-F578-DFFC-DBEBF017F362}"/>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532505751"/>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D20363-C025-21C7-A756-BCCCAC6D98A7}"/>
              </a:ext>
            </a:extLst>
          </p:cNvPr>
          <p:cNvSpPr>
            <a:spLocks noGrp="1"/>
          </p:cNvSpPr>
          <p:nvPr>
            <p:ph type="title"/>
          </p:nvPr>
        </p:nvSpPr>
        <p:spPr>
          <a:xfrm>
            <a:off x="209550" y="129441"/>
            <a:ext cx="7762875" cy="613509"/>
          </a:xfrm>
        </p:spPr>
        <p:txBody>
          <a:bodyPr>
            <a:normAutofit fontScale="90000"/>
          </a:bodyPr>
          <a:lstStyle/>
          <a:p>
            <a:r>
              <a:rPr lang="fr-FR" sz="4000" dirty="0">
                <a:latin typeface="Helvetica 75 Bold" panose="02000803050000020004" pitchFamily="2" charset="0"/>
              </a:rPr>
              <a:t>11. L'intrication Quantique révélée !</a:t>
            </a:r>
          </a:p>
        </p:txBody>
      </p:sp>
      <p:sp>
        <p:nvSpPr>
          <p:cNvPr id="3" name="Espace réservé du contenu 2">
            <a:extLst>
              <a:ext uri="{FF2B5EF4-FFF2-40B4-BE49-F238E27FC236}">
                <a16:creationId xmlns:a16="http://schemas.microsoft.com/office/drawing/2014/main" id="{D122A72B-3C5A-5F11-8C96-22ED2F1862A8}"/>
              </a:ext>
            </a:extLst>
          </p:cNvPr>
          <p:cNvSpPr>
            <a:spLocks noGrp="1"/>
          </p:cNvSpPr>
          <p:nvPr>
            <p:ph idx="1"/>
          </p:nvPr>
        </p:nvSpPr>
        <p:spPr>
          <a:xfrm>
            <a:off x="239202" y="894677"/>
            <a:ext cx="7508931" cy="1848523"/>
          </a:xfrm>
        </p:spPr>
        <p:txBody>
          <a:bodyPr vert="horz" lIns="91440" tIns="45720" rIns="91440" bIns="45720" rtlCol="0" anchor="t">
            <a:normAutofit fontScale="92500" lnSpcReduction="20000"/>
          </a:bodyPr>
          <a:lstStyle/>
          <a:p>
            <a:r>
              <a:rPr lang="fr-FR" sz="2400" dirty="0">
                <a:solidFill>
                  <a:schemeClr val="tx1"/>
                </a:solidFill>
                <a:latin typeface="Helvetica 75 "/>
              </a:rPr>
              <a:t>Particules intriquées = comportements corrélés</a:t>
            </a:r>
          </a:p>
          <a:p>
            <a:r>
              <a:rPr lang="fr-FR" sz="2400" dirty="0">
                <a:solidFill>
                  <a:schemeClr val="tx1"/>
                </a:solidFill>
                <a:latin typeface="Helvetica 75 "/>
              </a:rPr>
              <a:t>Expérience d'Alain Aspect = Confirmation</a:t>
            </a:r>
          </a:p>
          <a:p>
            <a:r>
              <a:rPr lang="fr-FR" sz="2400" dirty="0">
                <a:solidFill>
                  <a:schemeClr val="tx1"/>
                </a:solidFill>
                <a:latin typeface="Helvetica 75 "/>
              </a:rPr>
              <a:t>Expérimentale de l'intrication</a:t>
            </a:r>
          </a:p>
          <a:p>
            <a:r>
              <a:rPr lang="fr-FR" sz="2400" dirty="0">
                <a:solidFill>
                  <a:schemeClr val="tx1"/>
                </a:solidFill>
                <a:latin typeface="Helvetica 75 "/>
              </a:rPr>
              <a:t>Application : Crypto Q, Ordi Q</a:t>
            </a:r>
          </a:p>
        </p:txBody>
      </p:sp>
      <p:sp>
        <p:nvSpPr>
          <p:cNvPr id="4" name="Espace réservé du numéro de diapositive 3">
            <a:extLst>
              <a:ext uri="{FF2B5EF4-FFF2-40B4-BE49-F238E27FC236}">
                <a16:creationId xmlns:a16="http://schemas.microsoft.com/office/drawing/2014/main" id="{CD0C33C0-BB34-AE55-084D-BE6C70790DE1}"/>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4</a:t>
            </a:fld>
            <a:endParaRPr lang="fr-FR"/>
          </a:p>
        </p:txBody>
      </p:sp>
      <p:pic>
        <p:nvPicPr>
          <p:cNvPr id="5" name="Image 4" descr="Une image contenant texte, ligne, diagramme, capture d’écran&#10;&#10;Le contenu généré par l’IA peut être incorrect.">
            <a:extLst>
              <a:ext uri="{FF2B5EF4-FFF2-40B4-BE49-F238E27FC236}">
                <a16:creationId xmlns:a16="http://schemas.microsoft.com/office/drawing/2014/main" id="{1A78FF78-93D9-8B89-A1F4-7EA8B6DB3C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17857" y="955675"/>
            <a:ext cx="4126149" cy="4399473"/>
          </a:xfrm>
          <a:prstGeom prst="rect">
            <a:avLst/>
          </a:prstGeom>
        </p:spPr>
      </p:pic>
      <p:pic>
        <p:nvPicPr>
          <p:cNvPr id="6" name="Image 5" descr="Une image contenant texte, capture d’écran, diagramme, Graphique&#10;&#10;Le contenu généré par l’IA peut être incorrect.">
            <a:extLst>
              <a:ext uri="{FF2B5EF4-FFF2-40B4-BE49-F238E27FC236}">
                <a16:creationId xmlns:a16="http://schemas.microsoft.com/office/drawing/2014/main" id="{1D6CCA9E-436A-7FDF-477E-B14AFB87EC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7669" y="2839768"/>
            <a:ext cx="5744445" cy="2954363"/>
          </a:xfrm>
          <a:prstGeom prst="rect">
            <a:avLst/>
          </a:prstGeom>
        </p:spPr>
      </p:pic>
      <p:grpSp>
        <p:nvGrpSpPr>
          <p:cNvPr id="7" name="Groupe 6">
            <a:extLst>
              <a:ext uri="{FF2B5EF4-FFF2-40B4-BE49-F238E27FC236}">
                <a16:creationId xmlns:a16="http://schemas.microsoft.com/office/drawing/2014/main" id="{AD52BF4E-1B9A-2C41-8603-5360EC01A4E5}"/>
              </a:ext>
            </a:extLst>
          </p:cNvPr>
          <p:cNvGrpSpPr/>
          <p:nvPr/>
        </p:nvGrpSpPr>
        <p:grpSpPr>
          <a:xfrm>
            <a:off x="0" y="6169848"/>
            <a:ext cx="12192000" cy="688152"/>
            <a:chOff x="0" y="6163498"/>
            <a:chExt cx="12192000" cy="688152"/>
          </a:xfrm>
        </p:grpSpPr>
        <p:sp>
          <p:nvSpPr>
            <p:cNvPr id="8" name="Freeform 2">
              <a:extLst>
                <a:ext uri="{FF2B5EF4-FFF2-40B4-BE49-F238E27FC236}">
                  <a16:creationId xmlns:a16="http://schemas.microsoft.com/office/drawing/2014/main" id="{23E7B21B-C5EB-ECA5-30A8-6A6C21BA2145}"/>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9" name="TextBox 3">
              <a:extLst>
                <a:ext uri="{FF2B5EF4-FFF2-40B4-BE49-F238E27FC236}">
                  <a16:creationId xmlns:a16="http://schemas.microsoft.com/office/drawing/2014/main" id="{378A395B-5ED5-350F-3C97-BA6D18A25242}"/>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10" name="TextBox 4">
              <a:extLst>
                <a:ext uri="{FF2B5EF4-FFF2-40B4-BE49-F238E27FC236}">
                  <a16:creationId xmlns:a16="http://schemas.microsoft.com/office/drawing/2014/main" id="{5998AF39-934F-8193-075C-7F5012E3FEAA}"/>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262958030"/>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9265376-597C-6F2A-0726-246AF157FDF3}"/>
              </a:ext>
            </a:extLst>
          </p:cNvPr>
          <p:cNvSpPr>
            <a:spLocks noGrp="1"/>
          </p:cNvSpPr>
          <p:nvPr>
            <p:ph type="title"/>
          </p:nvPr>
        </p:nvSpPr>
        <p:spPr>
          <a:xfrm>
            <a:off x="220409" y="173392"/>
            <a:ext cx="7062347" cy="5726888"/>
          </a:xfrm>
        </p:spPr>
        <p:txBody>
          <a:bodyPr>
            <a:noAutofit/>
          </a:bodyPr>
          <a:lstStyle/>
          <a:p>
            <a:r>
              <a:rPr lang="fr-FR" sz="2900" dirty="0">
                <a:latin typeface="Helvetica 75 Bold" panose="02000803050000020004" pitchFamily="2" charset="0"/>
              </a:rPr>
              <a:t>12. Controverse 1</a:t>
            </a:r>
            <a:br>
              <a:rPr lang="fr-FR" sz="2400" dirty="0">
                <a:solidFill>
                  <a:schemeClr val="bg2"/>
                </a:solidFill>
                <a:latin typeface="Helvetica 75 Bold" panose="02000803050000020004" pitchFamily="2" charset="0"/>
              </a:rPr>
            </a:br>
            <a:br>
              <a:rPr lang="fr-FR" sz="2400" u="sng" dirty="0">
                <a:solidFill>
                  <a:schemeClr val="bg2"/>
                </a:solidFill>
                <a:latin typeface="Helvetica 75 Bold" panose="02000803050000020004" pitchFamily="2" charset="0"/>
              </a:rPr>
            </a:br>
            <a:r>
              <a:rPr lang="fr-FR" sz="2000" dirty="0">
                <a:solidFill>
                  <a:schemeClr val="tx1"/>
                </a:solidFill>
                <a:latin typeface="Helvetica 75 Bold" panose="02000803050000020004" pitchFamily="2" charset="0"/>
              </a:rPr>
              <a:t>Inégalité CHSH 1969</a:t>
            </a:r>
            <a:br>
              <a:rPr lang="fr-FR" sz="2000" dirty="0">
                <a:solidFill>
                  <a:schemeClr val="tx1"/>
                </a:solidFill>
                <a:latin typeface="Helvetica 75 Bold" panose="02000803050000020004" pitchFamily="2" charset="0"/>
              </a:rPr>
            </a:br>
            <a:r>
              <a:rPr lang="fr-FR" sz="2000" dirty="0">
                <a:solidFill>
                  <a:schemeClr val="tx1"/>
                </a:solidFill>
                <a:latin typeface="Helvetica 75 Bold" panose="02000803050000020004" pitchFamily="2" charset="0"/>
              </a:rPr>
              <a:t>Expérience et thèse Alain Aspect 1981-1983</a:t>
            </a:r>
            <a:br>
              <a:rPr lang="fr-FR" sz="2000" dirty="0">
                <a:latin typeface="Helvetica 75 Bold" panose="02000803050000020004" pitchFamily="2" charset="0"/>
              </a:rPr>
            </a:br>
            <a:br>
              <a:rPr lang="fr-FR" sz="2000" dirty="0">
                <a:latin typeface="Helvetica 75 Bold" panose="02000803050000020004" pitchFamily="2" charset="0"/>
              </a:rPr>
            </a:br>
            <a:r>
              <a:rPr lang="fr-FR" sz="2000" dirty="0">
                <a:solidFill>
                  <a:schemeClr val="tx1"/>
                </a:solidFill>
                <a:latin typeface="Helvetica 75 "/>
              </a:rPr>
              <a:t>La somme des espérances (E, probabilité d'être dans un état)  doit être inférieure ou égale à 2, cela prouve qu’Einstein a raison.</a:t>
            </a:r>
            <a:br>
              <a:rPr lang="fr-FR" sz="2000" dirty="0">
                <a:solidFill>
                  <a:schemeClr val="tx1"/>
                </a:solidFill>
                <a:latin typeface="Helvetica 75 "/>
              </a:rPr>
            </a:br>
            <a:r>
              <a:rPr lang="fr-FR" sz="2000" dirty="0">
                <a:solidFill>
                  <a:schemeClr val="tx1"/>
                </a:solidFill>
                <a:latin typeface="Helvetica 75 "/>
              </a:rPr>
              <a:t>«</a:t>
            </a:r>
            <a:r>
              <a:rPr lang="fr-FR" sz="2000" b="1" dirty="0">
                <a:solidFill>
                  <a:schemeClr val="tx1"/>
                </a:solidFill>
                <a:latin typeface="Helvetica 75 "/>
              </a:rPr>
              <a:t>Les particules peuvent se comporter de la même façon à une grande distance » </a:t>
            </a:r>
            <a:br>
              <a:rPr lang="fr-FR" sz="2000" b="1" dirty="0">
                <a:solidFill>
                  <a:schemeClr val="tx1"/>
                </a:solidFill>
                <a:latin typeface="Helvetica 75 "/>
              </a:rPr>
            </a:br>
            <a:r>
              <a:rPr lang="fr-FR" sz="2000" u="sng" dirty="0">
                <a:solidFill>
                  <a:schemeClr val="tx1"/>
                </a:solidFill>
                <a:latin typeface="Helvetica 75 "/>
              </a:rPr>
              <a:t>Postulat Einstein </a:t>
            </a:r>
            <a:r>
              <a:rPr lang="fr-FR" sz="2000" dirty="0">
                <a:solidFill>
                  <a:schemeClr val="tx1"/>
                </a:solidFill>
                <a:latin typeface="Helvetica 75 "/>
              </a:rPr>
              <a:t>: ce n'est pas possible car ça dépasserait la vitesse de la lumière. On a du se tromper quelque part dans la théorie, il doit y avoir des </a:t>
            </a:r>
            <a:r>
              <a:rPr lang="fr-FR" sz="2000" b="1" dirty="0">
                <a:solidFill>
                  <a:schemeClr val="tx1"/>
                </a:solidFill>
                <a:latin typeface="Helvetica 75 "/>
              </a:rPr>
              <a:t>variables cachées </a:t>
            </a:r>
            <a:r>
              <a:rPr lang="fr-FR" sz="2000" dirty="0">
                <a:solidFill>
                  <a:schemeClr val="tx1"/>
                </a:solidFill>
                <a:latin typeface="Helvetica 75 "/>
              </a:rPr>
              <a:t>qu’on ne maitrise pas. </a:t>
            </a:r>
            <a:br>
              <a:rPr lang="fr-FR" sz="2000" dirty="0">
                <a:solidFill>
                  <a:schemeClr val="tx1"/>
                </a:solidFill>
                <a:latin typeface="Helvetica 75 "/>
              </a:rPr>
            </a:br>
            <a:r>
              <a:rPr lang="fr-FR" sz="2000" u="sng" dirty="0">
                <a:solidFill>
                  <a:schemeClr val="tx1"/>
                </a:solidFill>
                <a:latin typeface="Helvetica 75 "/>
              </a:rPr>
              <a:t>Bohr</a:t>
            </a:r>
            <a:r>
              <a:rPr lang="fr-FR" sz="2000" dirty="0">
                <a:solidFill>
                  <a:schemeClr val="tx1"/>
                </a:solidFill>
                <a:latin typeface="Helvetica 75 "/>
              </a:rPr>
              <a:t> : la théorie de la mécanique quantique est juste</a:t>
            </a:r>
            <a:r>
              <a:rPr lang="fr-FR" sz="2000" b="1" dirty="0">
                <a:solidFill>
                  <a:schemeClr val="tx1"/>
                </a:solidFill>
                <a:latin typeface="Helvetica 75 "/>
              </a:rPr>
              <a:t>, il n y a pas de variable cachée</a:t>
            </a:r>
            <a:r>
              <a:rPr lang="fr-FR" sz="2000" dirty="0">
                <a:solidFill>
                  <a:schemeClr val="tx1"/>
                </a:solidFill>
                <a:latin typeface="Helvetica 75 "/>
              </a:rPr>
              <a:t>, on va le prouver. </a:t>
            </a:r>
            <a:br>
              <a:rPr lang="fr-FR" sz="2000" dirty="0">
                <a:solidFill>
                  <a:schemeClr val="tx1"/>
                </a:solidFill>
                <a:latin typeface="Helvetica 75 "/>
              </a:rPr>
            </a:br>
            <a:r>
              <a:rPr lang="fr-FR" sz="2000" u="sng" dirty="0">
                <a:solidFill>
                  <a:schemeClr val="tx1"/>
                </a:solidFill>
                <a:latin typeface="Helvetica 75 "/>
              </a:rPr>
              <a:t>John Bell </a:t>
            </a:r>
            <a:r>
              <a:rPr lang="fr-FR" sz="2000" dirty="0">
                <a:solidFill>
                  <a:schemeClr val="tx1"/>
                </a:solidFill>
                <a:latin typeface="Helvetica 75 "/>
              </a:rPr>
              <a:t>: exhibe une expérience pour prouver que soit Einstein, soit Bohr a raison. </a:t>
            </a:r>
            <a:br>
              <a:rPr lang="fr-FR" sz="2000" dirty="0">
                <a:solidFill>
                  <a:schemeClr val="tx1"/>
                </a:solidFill>
                <a:latin typeface="Helvetica 75 "/>
              </a:rPr>
            </a:br>
            <a:r>
              <a:rPr lang="fr-FR" sz="2000" dirty="0">
                <a:solidFill>
                  <a:schemeClr val="tx1"/>
                </a:solidFill>
                <a:latin typeface="Helvetica 75 "/>
              </a:rPr>
              <a:t>Approfondissement de cette expérience </a:t>
            </a:r>
            <a:r>
              <a:rPr lang="fr-FR" sz="2000" b="1" dirty="0">
                <a:solidFill>
                  <a:schemeClr val="tx1"/>
                </a:solidFill>
                <a:latin typeface="Helvetica 75 "/>
              </a:rPr>
              <a:t>: Inégalité CHSH (</a:t>
            </a:r>
            <a:r>
              <a:rPr lang="fr-FR" sz="2000" b="1" dirty="0" err="1">
                <a:solidFill>
                  <a:schemeClr val="tx1"/>
                </a:solidFill>
                <a:latin typeface="Helvetica 75 "/>
              </a:rPr>
              <a:t>Clauser</a:t>
            </a:r>
            <a:r>
              <a:rPr lang="fr-FR" sz="2000" b="1" dirty="0">
                <a:solidFill>
                  <a:schemeClr val="tx1"/>
                </a:solidFill>
                <a:latin typeface="Helvetica 75 "/>
              </a:rPr>
              <a:t>, Horne, </a:t>
            </a:r>
            <a:r>
              <a:rPr lang="fr-FR" sz="2000" b="1" dirty="0" err="1">
                <a:solidFill>
                  <a:schemeClr val="tx1"/>
                </a:solidFill>
                <a:latin typeface="Helvetica 75 "/>
              </a:rPr>
              <a:t>Shimony</a:t>
            </a:r>
            <a:r>
              <a:rPr lang="fr-FR" sz="2000" b="1" dirty="0">
                <a:solidFill>
                  <a:schemeClr val="tx1"/>
                </a:solidFill>
                <a:latin typeface="Helvetica 75 "/>
              </a:rPr>
              <a:t>, Holt) mesure qui prouve que la théorie d’Einstein est fausse : non localité</a:t>
            </a:r>
            <a:br>
              <a:rPr lang="fr-FR" sz="2000" b="1" dirty="0">
                <a:solidFill>
                  <a:schemeClr val="tx1"/>
                </a:solidFill>
                <a:latin typeface="Helvetica 75 "/>
              </a:rPr>
            </a:br>
            <a:endParaRPr lang="fr-FR" sz="2000" b="1" dirty="0">
              <a:solidFill>
                <a:schemeClr val="tx1"/>
              </a:solidFill>
              <a:latin typeface="Helvetica 75 "/>
            </a:endParaRPr>
          </a:p>
        </p:txBody>
      </p:sp>
      <p:pic>
        <p:nvPicPr>
          <p:cNvPr id="8" name="Espace réservé du contenu 7" descr="Une image contenant texte, capture d’écran, Police, document&#10;&#10;Le contenu généré par l’IA peut être incorrect.">
            <a:extLst>
              <a:ext uri="{FF2B5EF4-FFF2-40B4-BE49-F238E27FC236}">
                <a16:creationId xmlns:a16="http://schemas.microsoft.com/office/drawing/2014/main" id="{186D1796-9911-3ADD-2A82-91A5EA53ABC4}"/>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7473461" y="1039091"/>
            <a:ext cx="4498129" cy="4223711"/>
          </a:xfrm>
          <a:prstGeom prst="rect">
            <a:avLst/>
          </a:prstGeom>
        </p:spPr>
      </p:pic>
      <p:sp>
        <p:nvSpPr>
          <p:cNvPr id="4" name="Espace réservé du numéro de diapositive 3">
            <a:extLst>
              <a:ext uri="{FF2B5EF4-FFF2-40B4-BE49-F238E27FC236}">
                <a16:creationId xmlns:a16="http://schemas.microsoft.com/office/drawing/2014/main" id="{E9008459-98CF-85F4-3567-9E4418F16D93}"/>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5</a:t>
            </a:fld>
            <a:endParaRPr lang="fr-FR"/>
          </a:p>
        </p:txBody>
      </p:sp>
      <p:grpSp>
        <p:nvGrpSpPr>
          <p:cNvPr id="3" name="Groupe 2">
            <a:extLst>
              <a:ext uri="{FF2B5EF4-FFF2-40B4-BE49-F238E27FC236}">
                <a16:creationId xmlns:a16="http://schemas.microsoft.com/office/drawing/2014/main" id="{C589AE4E-42A1-FB6C-9AEA-0533E8A2334D}"/>
              </a:ext>
            </a:extLst>
          </p:cNvPr>
          <p:cNvGrpSpPr/>
          <p:nvPr/>
        </p:nvGrpSpPr>
        <p:grpSpPr>
          <a:xfrm>
            <a:off x="0" y="6169848"/>
            <a:ext cx="12192000" cy="688152"/>
            <a:chOff x="0" y="6163498"/>
            <a:chExt cx="12192000" cy="688152"/>
          </a:xfrm>
        </p:grpSpPr>
        <p:sp>
          <p:nvSpPr>
            <p:cNvPr id="5" name="Freeform 2">
              <a:extLst>
                <a:ext uri="{FF2B5EF4-FFF2-40B4-BE49-F238E27FC236}">
                  <a16:creationId xmlns:a16="http://schemas.microsoft.com/office/drawing/2014/main" id="{07DBDA5D-E2F6-7BA7-283F-F0E2CEB3D505}"/>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6" name="TextBox 3">
              <a:extLst>
                <a:ext uri="{FF2B5EF4-FFF2-40B4-BE49-F238E27FC236}">
                  <a16:creationId xmlns:a16="http://schemas.microsoft.com/office/drawing/2014/main" id="{40986F70-DBC2-3517-E6BF-5F31B3DB2682}"/>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7" name="TextBox 4">
              <a:extLst>
                <a:ext uri="{FF2B5EF4-FFF2-40B4-BE49-F238E27FC236}">
                  <a16:creationId xmlns:a16="http://schemas.microsoft.com/office/drawing/2014/main" id="{F06A500D-C8FF-98A9-6CDB-53501867D8D7}"/>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2479156322"/>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B5A175-398C-636A-8C32-4BF40193C5BE}"/>
              </a:ext>
            </a:extLst>
          </p:cNvPr>
          <p:cNvSpPr>
            <a:spLocks noGrp="1"/>
          </p:cNvSpPr>
          <p:nvPr>
            <p:ph type="title"/>
          </p:nvPr>
        </p:nvSpPr>
        <p:spPr>
          <a:xfrm>
            <a:off x="278720" y="123825"/>
            <a:ext cx="6569755" cy="1781175"/>
          </a:xfrm>
        </p:spPr>
        <p:txBody>
          <a:bodyPr>
            <a:normAutofit fontScale="90000"/>
          </a:bodyPr>
          <a:lstStyle/>
          <a:p>
            <a:r>
              <a:rPr lang="fr-FR" sz="3200" dirty="0">
                <a:latin typeface="Helvetica 75 Bold" panose="02000803050000020004" pitchFamily="2" charset="0"/>
              </a:rPr>
              <a:t>12. Controverse 2</a:t>
            </a:r>
            <a:br>
              <a:rPr lang="fr-FR" sz="3200" dirty="0">
                <a:latin typeface="Helvetica 75 Bold" panose="02000803050000020004" pitchFamily="2" charset="0"/>
              </a:rPr>
            </a:br>
            <a:br>
              <a:rPr lang="fr-FR" sz="3200" dirty="0">
                <a:latin typeface="Helvetica 75 Bold" panose="02000803050000020004" pitchFamily="2" charset="0"/>
              </a:rPr>
            </a:br>
            <a:r>
              <a:rPr lang="fr-FR" sz="2400" dirty="0">
                <a:solidFill>
                  <a:schemeClr val="tx1"/>
                </a:solidFill>
                <a:latin typeface="Helvetica 75"/>
              </a:rPr>
              <a:t>Bohr, avec les particules intriquées le résultat la somme des espérances est de 2,42 - Einstein a tort, notion de localité, réalisme local.</a:t>
            </a:r>
            <a:endParaRPr lang="fr-FR" sz="3200" dirty="0">
              <a:solidFill>
                <a:schemeClr val="tx1"/>
              </a:solidFill>
              <a:latin typeface="Helvetica 75"/>
            </a:endParaRPr>
          </a:p>
        </p:txBody>
      </p:sp>
      <p:pic>
        <p:nvPicPr>
          <p:cNvPr id="14" name="Espace réservé du contenu 13" descr="Une image contenant texte, capture d’écran, Police, document&#10;&#10;Le contenu généré par l’IA peut être incorrect.">
            <a:extLst>
              <a:ext uri="{FF2B5EF4-FFF2-40B4-BE49-F238E27FC236}">
                <a16:creationId xmlns:a16="http://schemas.microsoft.com/office/drawing/2014/main" id="{F65DC868-6A61-6E47-F41E-2B63DC145296}"/>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7013998" y="5862"/>
            <a:ext cx="3519426" cy="6166338"/>
          </a:xfrm>
          <a:prstGeom prst="rect">
            <a:avLst/>
          </a:prstGeom>
        </p:spPr>
      </p:pic>
      <p:sp>
        <p:nvSpPr>
          <p:cNvPr id="4" name="Espace réservé du numéro de diapositive 3">
            <a:extLst>
              <a:ext uri="{FF2B5EF4-FFF2-40B4-BE49-F238E27FC236}">
                <a16:creationId xmlns:a16="http://schemas.microsoft.com/office/drawing/2014/main" id="{BC5E446A-4AC8-96B8-BF93-B85E82DF558C}"/>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6</a:t>
            </a:fld>
            <a:endParaRPr lang="fr-FR"/>
          </a:p>
        </p:txBody>
      </p:sp>
      <p:pic>
        <p:nvPicPr>
          <p:cNvPr id="5" name="Image 4">
            <a:extLst>
              <a:ext uri="{FF2B5EF4-FFF2-40B4-BE49-F238E27FC236}">
                <a16:creationId xmlns:a16="http://schemas.microsoft.com/office/drawing/2014/main" id="{40BAE00F-7DEE-D163-D867-3339245593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4249" y="1956278"/>
            <a:ext cx="5365543" cy="4118474"/>
          </a:xfrm>
          <a:prstGeom prst="rect">
            <a:avLst/>
          </a:prstGeom>
        </p:spPr>
      </p:pic>
      <p:grpSp>
        <p:nvGrpSpPr>
          <p:cNvPr id="3" name="Groupe 2">
            <a:extLst>
              <a:ext uri="{FF2B5EF4-FFF2-40B4-BE49-F238E27FC236}">
                <a16:creationId xmlns:a16="http://schemas.microsoft.com/office/drawing/2014/main" id="{85A0C8AD-4AFA-B647-44D6-1213665FACD4}"/>
              </a:ext>
            </a:extLst>
          </p:cNvPr>
          <p:cNvGrpSpPr/>
          <p:nvPr/>
        </p:nvGrpSpPr>
        <p:grpSpPr>
          <a:xfrm>
            <a:off x="0" y="6169848"/>
            <a:ext cx="12192000" cy="688152"/>
            <a:chOff x="0" y="6163498"/>
            <a:chExt cx="12192000" cy="688152"/>
          </a:xfrm>
        </p:grpSpPr>
        <p:sp>
          <p:nvSpPr>
            <p:cNvPr id="6" name="Freeform 2">
              <a:extLst>
                <a:ext uri="{FF2B5EF4-FFF2-40B4-BE49-F238E27FC236}">
                  <a16:creationId xmlns:a16="http://schemas.microsoft.com/office/drawing/2014/main" id="{7D54A601-A30B-995F-9203-17FCF9D32691}"/>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7" name="TextBox 3">
              <a:extLst>
                <a:ext uri="{FF2B5EF4-FFF2-40B4-BE49-F238E27FC236}">
                  <a16:creationId xmlns:a16="http://schemas.microsoft.com/office/drawing/2014/main" id="{E11B5C54-C0FF-6354-F793-3EB4482DB731}"/>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8" name="TextBox 4">
              <a:extLst>
                <a:ext uri="{FF2B5EF4-FFF2-40B4-BE49-F238E27FC236}">
                  <a16:creationId xmlns:a16="http://schemas.microsoft.com/office/drawing/2014/main" id="{1F84A735-35BB-D095-1ED7-991AF8ECD849}"/>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3563476220"/>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465610-5817-2812-4E07-989095DEB798}"/>
              </a:ext>
            </a:extLst>
          </p:cNvPr>
          <p:cNvSpPr>
            <a:spLocks noGrp="1"/>
          </p:cNvSpPr>
          <p:nvPr>
            <p:ph type="title"/>
          </p:nvPr>
        </p:nvSpPr>
        <p:spPr>
          <a:xfrm>
            <a:off x="319134" y="297664"/>
            <a:ext cx="5044845" cy="3822827"/>
          </a:xfrm>
        </p:spPr>
        <p:txBody>
          <a:bodyPr>
            <a:noAutofit/>
          </a:bodyPr>
          <a:lstStyle/>
          <a:p>
            <a:r>
              <a:rPr lang="fr-FR" sz="3200" dirty="0">
                <a:latin typeface="Helvetica 75 Bold" panose="02000803050000020004" pitchFamily="2" charset="0"/>
              </a:rPr>
              <a:t>13. Conclusion</a:t>
            </a:r>
            <a:br>
              <a:rPr lang="fr-FR" sz="3200" dirty="0">
                <a:latin typeface="Helvetica 75 Bold" panose="02000803050000020004" pitchFamily="2" charset="0"/>
              </a:rPr>
            </a:br>
            <a:br>
              <a:rPr lang="fr-FR" sz="3200" dirty="0">
                <a:latin typeface="Helvetica 75 Bold" panose="02000803050000020004" pitchFamily="2" charset="0"/>
              </a:rPr>
            </a:br>
            <a:r>
              <a:rPr lang="fr-FR" sz="3200" dirty="0">
                <a:solidFill>
                  <a:schemeClr val="tx1"/>
                </a:solidFill>
                <a:latin typeface="Helvetica 75 "/>
              </a:rPr>
              <a:t>Alain Aspect </a:t>
            </a:r>
            <a:br>
              <a:rPr lang="fr-FR" sz="3200" dirty="0">
                <a:solidFill>
                  <a:schemeClr val="tx1"/>
                </a:solidFill>
                <a:latin typeface="Helvetica 75 Bold" panose="02000803050000020004" pitchFamily="2" charset="0"/>
              </a:rPr>
            </a:br>
            <a:r>
              <a:rPr lang="fr-FR" sz="3200" dirty="0">
                <a:solidFill>
                  <a:schemeClr val="tx1"/>
                </a:solidFill>
                <a:latin typeface="Helvetica 75 "/>
              </a:rPr>
              <a:t>Il n’existe pas de variable cachée locale, les patchs d’Einstein sont contredits par la réalité.</a:t>
            </a:r>
          </a:p>
        </p:txBody>
      </p:sp>
      <p:pic>
        <p:nvPicPr>
          <p:cNvPr id="5" name="Espace réservé du contenu 4" descr="Une image contenant texte, capture d’écran, Police, document&#10;&#10;Le contenu généré par l’IA peut être incorrect.">
            <a:extLst>
              <a:ext uri="{FF2B5EF4-FFF2-40B4-BE49-F238E27FC236}">
                <a16:creationId xmlns:a16="http://schemas.microsoft.com/office/drawing/2014/main" id="{FA41B3F7-8854-2355-C9FF-B912804CB8C2}"/>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5977305" y="778212"/>
            <a:ext cx="4938346" cy="5005822"/>
          </a:xfrm>
          <a:prstGeom prst="rect">
            <a:avLst/>
          </a:prstGeom>
        </p:spPr>
      </p:pic>
      <p:sp>
        <p:nvSpPr>
          <p:cNvPr id="4" name="Espace réservé du numéro de diapositive 3">
            <a:extLst>
              <a:ext uri="{FF2B5EF4-FFF2-40B4-BE49-F238E27FC236}">
                <a16:creationId xmlns:a16="http://schemas.microsoft.com/office/drawing/2014/main" id="{FFAB4778-DA59-37EB-7EC2-946B0BE6F397}"/>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17</a:t>
            </a:fld>
            <a:endParaRPr lang="fr-FR"/>
          </a:p>
        </p:txBody>
      </p:sp>
      <p:grpSp>
        <p:nvGrpSpPr>
          <p:cNvPr id="3" name="Groupe 2">
            <a:extLst>
              <a:ext uri="{FF2B5EF4-FFF2-40B4-BE49-F238E27FC236}">
                <a16:creationId xmlns:a16="http://schemas.microsoft.com/office/drawing/2014/main" id="{E6EADBB1-0535-E669-B034-68B29150C2B6}"/>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E2C6769C-43AF-0A13-18C3-0ED1BD48C453}"/>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439EF3CC-76F7-E725-3CC4-E39B35ECF02C}"/>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9" name="TextBox 4">
              <a:extLst>
                <a:ext uri="{FF2B5EF4-FFF2-40B4-BE49-F238E27FC236}">
                  <a16:creationId xmlns:a16="http://schemas.microsoft.com/office/drawing/2014/main" id="{77F92254-38FE-AF8F-1C4B-973DB66C70C0}"/>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909825135"/>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5EC168-42C8-E4FB-2E32-ED0BB4060305}"/>
              </a:ext>
            </a:extLst>
          </p:cNvPr>
          <p:cNvSpPr>
            <a:spLocks noGrp="1"/>
          </p:cNvSpPr>
          <p:nvPr>
            <p:ph type="title"/>
          </p:nvPr>
        </p:nvSpPr>
        <p:spPr>
          <a:xfrm>
            <a:off x="369842" y="253462"/>
            <a:ext cx="10661148" cy="831851"/>
          </a:xfrm>
        </p:spPr>
        <p:txBody>
          <a:bodyPr/>
          <a:lstStyle/>
          <a:p>
            <a:r>
              <a:rPr lang="fr-FR" dirty="0"/>
              <a:t>13. Sphère de Bloch : l'équivalent du cercle unité de la trigonométrie pour les Qubits</a:t>
            </a:r>
          </a:p>
        </p:txBody>
      </p:sp>
      <p:pic>
        <p:nvPicPr>
          <p:cNvPr id="5" name="Espace réservé du contenu 4" descr="Une image contenant Matière transparente, cercle&#10;&#10;Le contenu généré par l’IA peut être incorrect.">
            <a:extLst>
              <a:ext uri="{FF2B5EF4-FFF2-40B4-BE49-F238E27FC236}">
                <a16:creationId xmlns:a16="http://schemas.microsoft.com/office/drawing/2014/main" id="{28C61C56-8F32-25A2-508F-E6779D1575BB}"/>
              </a:ext>
            </a:extLst>
          </p:cNvPr>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5242378" y="1609725"/>
            <a:ext cx="6553200" cy="3686175"/>
          </a:xfrm>
        </p:spPr>
      </p:pic>
      <p:pic>
        <p:nvPicPr>
          <p:cNvPr id="7" name="Image 6" descr="Une image contenant jouet">
            <a:extLst>
              <a:ext uri="{FF2B5EF4-FFF2-40B4-BE49-F238E27FC236}">
                <a16:creationId xmlns:a16="http://schemas.microsoft.com/office/drawing/2014/main" id="{219A02A4-5689-59AC-55EE-E6BDBB3226A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6010" y="1461825"/>
            <a:ext cx="3850269" cy="4224600"/>
          </a:xfrm>
          <a:prstGeom prst="rect">
            <a:avLst/>
          </a:prstGeom>
        </p:spPr>
      </p:pic>
      <p:sp>
        <p:nvSpPr>
          <p:cNvPr id="3" name="ZoneTexte 2">
            <a:extLst>
              <a:ext uri="{FF2B5EF4-FFF2-40B4-BE49-F238E27FC236}">
                <a16:creationId xmlns:a16="http://schemas.microsoft.com/office/drawing/2014/main" id="{FA7AB745-BAE0-E869-90A8-E3F630785E92}"/>
              </a:ext>
            </a:extLst>
          </p:cNvPr>
          <p:cNvSpPr txBox="1"/>
          <p:nvPr/>
        </p:nvSpPr>
        <p:spPr>
          <a:xfrm>
            <a:off x="11213870" y="174568"/>
            <a:ext cx="665018" cy="276999"/>
          </a:xfrm>
          <a:prstGeom prst="rect">
            <a:avLst/>
          </a:prstGeom>
        </p:spPr>
        <p:txBody>
          <a:bodyPr wrap="square" lIns="0" tIns="0" rIns="0" bIns="0" rtlCol="0">
            <a:spAutoFit/>
          </a:bodyPr>
          <a:lstStyle/>
          <a:p>
            <a:r>
              <a:rPr lang="fr-FR" dirty="0">
                <a:solidFill>
                  <a:srgbClr val="FF0000"/>
                </a:solidFill>
              </a:rPr>
              <a:t>10mn</a:t>
            </a:r>
          </a:p>
        </p:txBody>
      </p:sp>
    </p:spTree>
    <p:extLst>
      <p:ext uri="{BB962C8B-B14F-4D97-AF65-F5344CB8AC3E}">
        <p14:creationId xmlns:p14="http://schemas.microsoft.com/office/powerpoint/2010/main" val="4154476839"/>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C6FBC4-1055-4156-7666-B12DE9BA1C50}"/>
              </a:ext>
            </a:extLst>
          </p:cNvPr>
          <p:cNvSpPr>
            <a:spLocks noGrp="1"/>
          </p:cNvSpPr>
          <p:nvPr>
            <p:ph type="title"/>
          </p:nvPr>
        </p:nvSpPr>
        <p:spPr>
          <a:xfrm>
            <a:off x="291043" y="205318"/>
            <a:ext cx="11294533" cy="831851"/>
          </a:xfrm>
        </p:spPr>
        <p:txBody>
          <a:bodyPr/>
          <a:lstStyle/>
          <a:p>
            <a:r>
              <a:rPr lang="fr-FR" dirty="0"/>
              <a:t>14. Le "Pari sur le futur" des chercheurs d'or est-il le même ? </a:t>
            </a:r>
            <a:br>
              <a:rPr lang="fr-FR" dirty="0"/>
            </a:br>
            <a:r>
              <a:rPr lang="fr-FR" dirty="0"/>
              <a:t>Avons-nous amorcé la révolution Quantique ?</a:t>
            </a:r>
            <a:br>
              <a:rPr lang="fr-FR" dirty="0"/>
            </a:br>
            <a:endParaRPr lang="fr-FR" dirty="0"/>
          </a:p>
        </p:txBody>
      </p:sp>
      <p:pic>
        <p:nvPicPr>
          <p:cNvPr id="5" name="Image 4">
            <a:extLst>
              <a:ext uri="{FF2B5EF4-FFF2-40B4-BE49-F238E27FC236}">
                <a16:creationId xmlns:a16="http://schemas.microsoft.com/office/drawing/2014/main" id="{6634DF88-86CD-50F7-ABAF-DC6D270E8F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6054" y="1409551"/>
            <a:ext cx="2143904" cy="1733699"/>
          </a:xfrm>
          <a:prstGeom prst="rect">
            <a:avLst/>
          </a:prstGeom>
        </p:spPr>
      </p:pic>
      <p:pic>
        <p:nvPicPr>
          <p:cNvPr id="7" name="Image 6">
            <a:extLst>
              <a:ext uri="{FF2B5EF4-FFF2-40B4-BE49-F238E27FC236}">
                <a16:creationId xmlns:a16="http://schemas.microsoft.com/office/drawing/2014/main" id="{D2CA1256-0273-1747-583F-74EA5D0984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9315" y="3438276"/>
            <a:ext cx="2090146" cy="2095749"/>
          </a:xfrm>
          <a:prstGeom prst="rect">
            <a:avLst/>
          </a:prstGeom>
        </p:spPr>
      </p:pic>
      <p:pic>
        <p:nvPicPr>
          <p:cNvPr id="10" name="Image 9">
            <a:extLst>
              <a:ext uri="{FF2B5EF4-FFF2-40B4-BE49-F238E27FC236}">
                <a16:creationId xmlns:a16="http://schemas.microsoft.com/office/drawing/2014/main" id="{A1C114B5-75B2-F526-3B98-6EDAD7D16F1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43002" y="2038350"/>
            <a:ext cx="5418664" cy="3047999"/>
          </a:xfrm>
          <a:prstGeom prst="rect">
            <a:avLst/>
          </a:prstGeom>
        </p:spPr>
      </p:pic>
      <p:pic>
        <p:nvPicPr>
          <p:cNvPr id="12" name="Image 11">
            <a:extLst>
              <a:ext uri="{FF2B5EF4-FFF2-40B4-BE49-F238E27FC236}">
                <a16:creationId xmlns:a16="http://schemas.microsoft.com/office/drawing/2014/main" id="{79459D10-4EF0-9421-D73D-444A4A134C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19808" y="1166576"/>
            <a:ext cx="2548242" cy="1970863"/>
          </a:xfrm>
          <a:prstGeom prst="rect">
            <a:avLst/>
          </a:prstGeom>
        </p:spPr>
      </p:pic>
      <p:pic>
        <p:nvPicPr>
          <p:cNvPr id="14" name="Image 13">
            <a:extLst>
              <a:ext uri="{FF2B5EF4-FFF2-40B4-BE49-F238E27FC236}">
                <a16:creationId xmlns:a16="http://schemas.microsoft.com/office/drawing/2014/main" id="{4BE3F2EE-15B4-9716-CAFC-304572029CB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819962" y="3323985"/>
            <a:ext cx="2057588" cy="2626708"/>
          </a:xfrm>
          <a:prstGeom prst="rect">
            <a:avLst/>
          </a:prstGeom>
        </p:spPr>
      </p:pic>
    </p:spTree>
    <p:extLst>
      <p:ext uri="{BB962C8B-B14F-4D97-AF65-F5344CB8AC3E}">
        <p14:creationId xmlns:p14="http://schemas.microsoft.com/office/powerpoint/2010/main" val="60476127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41BE245-3DD2-F6F1-982D-891250330488}"/>
              </a:ext>
            </a:extLst>
          </p:cNvPr>
          <p:cNvSpPr>
            <a:spLocks noGrp="1"/>
          </p:cNvSpPr>
          <p:nvPr>
            <p:ph type="title"/>
          </p:nvPr>
        </p:nvSpPr>
        <p:spPr>
          <a:xfrm>
            <a:off x="199409" y="369277"/>
            <a:ext cx="6790475" cy="424844"/>
          </a:xfrm>
        </p:spPr>
        <p:txBody>
          <a:bodyPr anchor="b">
            <a:noAutofit/>
          </a:bodyPr>
          <a:lstStyle/>
          <a:p>
            <a:r>
              <a:rPr lang="fr-FR" sz="3600" dirty="0">
                <a:latin typeface="Helvetica 75 Bold" panose="02000803050000020004" pitchFamily="2" charset="0"/>
              </a:rPr>
              <a:t>Hommage à Alain Aspect</a:t>
            </a:r>
          </a:p>
        </p:txBody>
      </p:sp>
      <p:sp>
        <p:nvSpPr>
          <p:cNvPr id="3" name="Espace réservé du contenu 2">
            <a:extLst>
              <a:ext uri="{FF2B5EF4-FFF2-40B4-BE49-F238E27FC236}">
                <a16:creationId xmlns:a16="http://schemas.microsoft.com/office/drawing/2014/main" id="{10773DFF-68C4-0D0F-4D1E-F7D642011A17}"/>
              </a:ext>
            </a:extLst>
          </p:cNvPr>
          <p:cNvSpPr>
            <a:spLocks noGrp="1"/>
          </p:cNvSpPr>
          <p:nvPr>
            <p:ph idx="1"/>
          </p:nvPr>
        </p:nvSpPr>
        <p:spPr>
          <a:xfrm>
            <a:off x="290146" y="1907932"/>
            <a:ext cx="6184898" cy="2989384"/>
          </a:xfrm>
        </p:spPr>
        <p:txBody>
          <a:bodyPr vert="horz" lIns="91440" tIns="45720" rIns="91440" bIns="45720" rtlCol="0">
            <a:normAutofit fontScale="92500" lnSpcReduction="20000"/>
          </a:bodyPr>
          <a:lstStyle/>
          <a:p>
            <a:r>
              <a:rPr lang="fr-FR" sz="2400" dirty="0">
                <a:solidFill>
                  <a:schemeClr val="tx1"/>
                </a:solidFill>
                <a:latin typeface="Helvetica 75"/>
              </a:rPr>
              <a:t>Prix Albert Einstein en 2012</a:t>
            </a:r>
          </a:p>
          <a:p>
            <a:r>
              <a:rPr lang="fr-FR" sz="2400" dirty="0">
                <a:solidFill>
                  <a:schemeClr val="tx1"/>
                </a:solidFill>
                <a:latin typeface="Helvetica 75"/>
              </a:rPr>
              <a:t>Prix Nobel de physique en 2022 travaux intrication quantique</a:t>
            </a:r>
          </a:p>
          <a:p>
            <a:r>
              <a:rPr lang="fr-FR" sz="2400" dirty="0">
                <a:solidFill>
                  <a:schemeClr val="tx1"/>
                </a:solidFill>
                <a:latin typeface="Helvetica 75"/>
              </a:rPr>
              <a:t>Récente nomination à l’Académie Française 06/2025</a:t>
            </a:r>
          </a:p>
          <a:p>
            <a:r>
              <a:rPr lang="fr-FR" sz="2400" dirty="0">
                <a:solidFill>
                  <a:schemeClr val="tx1"/>
                </a:solidFill>
                <a:latin typeface="Helvetica 75"/>
              </a:rPr>
              <a:t>Les attendus de cette présentation : rencontrer l'intrication quantique, comment elle est née à partir de diverses controverses et d’avancées scientifiques</a:t>
            </a:r>
            <a:r>
              <a:rPr lang="fr-FR" sz="2000" dirty="0">
                <a:solidFill>
                  <a:schemeClr val="tx1"/>
                </a:solidFill>
                <a:latin typeface="Helvetica 75"/>
              </a:rPr>
              <a:t>.</a:t>
            </a:r>
          </a:p>
        </p:txBody>
      </p:sp>
      <p:sp>
        <p:nvSpPr>
          <p:cNvPr id="4" name="Espace réservé du numéro de diapositive 3">
            <a:extLst>
              <a:ext uri="{FF2B5EF4-FFF2-40B4-BE49-F238E27FC236}">
                <a16:creationId xmlns:a16="http://schemas.microsoft.com/office/drawing/2014/main" id="{0CF5D49B-8902-3CAA-C445-15FFB3B76BA6}"/>
              </a:ext>
            </a:extLst>
          </p:cNvPr>
          <p:cNvSpPr>
            <a:spLocks noGrp="1"/>
          </p:cNvSpPr>
          <p:nvPr>
            <p:ph type="sldNum" sz="quarter" idx="4294967295"/>
          </p:nvPr>
        </p:nvSpPr>
        <p:spPr>
          <a:xfrm>
            <a:off x="11761788" y="6453188"/>
            <a:ext cx="430212" cy="365125"/>
          </a:xfrm>
          <a:prstGeom prst="rect">
            <a:avLst/>
          </a:prstGeom>
        </p:spPr>
        <p:txBody>
          <a:bodyPr>
            <a:normAutofit lnSpcReduction="10000"/>
          </a:bodyPr>
          <a:lstStyle/>
          <a:p>
            <a:pPr>
              <a:spcAft>
                <a:spcPts val="600"/>
              </a:spcAft>
            </a:pPr>
            <a:fld id="{27C6CCC6-2BE5-4E42-96A4-D1E8E81A3D8E}" type="slidenum">
              <a:rPr lang="fr-FR" smtClean="0"/>
              <a:pPr>
                <a:spcAft>
                  <a:spcPts val="600"/>
                </a:spcAft>
              </a:pPr>
              <a:t>2</a:t>
            </a:fld>
            <a:endParaRPr lang="fr-FR"/>
          </a:p>
        </p:txBody>
      </p:sp>
      <p:pic>
        <p:nvPicPr>
          <p:cNvPr id="6" name="Image 5" descr="Une image contenant habits, Visage humain, verres, personne">
            <a:extLst>
              <a:ext uri="{FF2B5EF4-FFF2-40B4-BE49-F238E27FC236}">
                <a16:creationId xmlns:a16="http://schemas.microsoft.com/office/drawing/2014/main" id="{3BCD6166-E573-77AC-3506-EBA0C1790C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91395" y="371222"/>
            <a:ext cx="4681506" cy="5335049"/>
          </a:xfrm>
          <a:prstGeom prst="rect">
            <a:avLst/>
          </a:prstGeom>
        </p:spPr>
      </p:pic>
      <p:grpSp>
        <p:nvGrpSpPr>
          <p:cNvPr id="5" name="Groupe 4">
            <a:extLst>
              <a:ext uri="{FF2B5EF4-FFF2-40B4-BE49-F238E27FC236}">
                <a16:creationId xmlns:a16="http://schemas.microsoft.com/office/drawing/2014/main" id="{0DAD7C97-DE7E-6B8C-BDE3-9957F63D3CA1}"/>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23389780-4A5C-877F-8D0F-00EF6754520F}"/>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1FAB7DD3-701A-2179-2635-31FE72893389}"/>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9" name="TextBox 4">
              <a:extLst>
                <a:ext uri="{FF2B5EF4-FFF2-40B4-BE49-F238E27FC236}">
                  <a16:creationId xmlns:a16="http://schemas.microsoft.com/office/drawing/2014/main" id="{405C07C6-177A-41FE-439D-F4C3BE3FF56E}"/>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3252305781"/>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descr="Une image contenant ingénierie, intérieur, affichage, avion&#10;&#10;Le contenu généré par l’IA peut être incorrect.">
            <a:extLst>
              <a:ext uri="{FF2B5EF4-FFF2-40B4-BE49-F238E27FC236}">
                <a16:creationId xmlns:a16="http://schemas.microsoft.com/office/drawing/2014/main" id="{010D154D-1385-FF21-2F40-B80B16BE0590}"/>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416282" y="172509"/>
            <a:ext cx="2831743" cy="5911764"/>
          </a:xfrm>
        </p:spPr>
      </p:pic>
      <p:pic>
        <p:nvPicPr>
          <p:cNvPr id="7" name="Image 6" descr="Une image contenant habits, personne, mur, Visage humain&#10;&#10;Le contenu généré par l’IA peut être incorrect.">
            <a:extLst>
              <a:ext uri="{FF2B5EF4-FFF2-40B4-BE49-F238E27FC236}">
                <a16:creationId xmlns:a16="http://schemas.microsoft.com/office/drawing/2014/main" id="{EFEB8B53-5AEB-4A49-9D57-1E36B8F798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05776" y="283632"/>
            <a:ext cx="2514600" cy="5736167"/>
          </a:xfrm>
          <a:prstGeom prst="rect">
            <a:avLst/>
          </a:prstGeom>
        </p:spPr>
      </p:pic>
      <p:sp>
        <p:nvSpPr>
          <p:cNvPr id="9" name="ZoneTexte 8">
            <a:extLst>
              <a:ext uri="{FF2B5EF4-FFF2-40B4-BE49-F238E27FC236}">
                <a16:creationId xmlns:a16="http://schemas.microsoft.com/office/drawing/2014/main" id="{4648C2EB-60B0-330C-8D3F-530634CFAA26}"/>
              </a:ext>
            </a:extLst>
          </p:cNvPr>
          <p:cNvSpPr txBox="1"/>
          <p:nvPr/>
        </p:nvSpPr>
        <p:spPr>
          <a:xfrm>
            <a:off x="3667125" y="942975"/>
            <a:ext cx="1828800" cy="646331"/>
          </a:xfrm>
          <a:prstGeom prst="rect">
            <a:avLst/>
          </a:prstGeom>
          <a:ln>
            <a:solidFill>
              <a:schemeClr val="tx1"/>
            </a:solidFill>
          </a:ln>
        </p:spPr>
        <p:txBody>
          <a:bodyPr wrap="square" lIns="0" tIns="0" rIns="0" bIns="0" rtlCol="0">
            <a:spAutoFit/>
          </a:bodyPr>
          <a:lstStyle/>
          <a:p>
            <a:pPr algn="ctr"/>
            <a:r>
              <a:rPr lang="fr-FR" sz="1400" dirty="0">
                <a:latin typeface="Helvetica 75" panose="020B0804020202020204"/>
              </a:rPr>
              <a:t>Brique élémentaire d’un ordinateur Quantique Photonique</a:t>
            </a:r>
          </a:p>
        </p:txBody>
      </p:sp>
      <p:sp>
        <p:nvSpPr>
          <p:cNvPr id="10" name="ZoneTexte 9">
            <a:extLst>
              <a:ext uri="{FF2B5EF4-FFF2-40B4-BE49-F238E27FC236}">
                <a16:creationId xmlns:a16="http://schemas.microsoft.com/office/drawing/2014/main" id="{6657ADA1-B6BF-299E-7547-94985F54F6E7}"/>
              </a:ext>
            </a:extLst>
          </p:cNvPr>
          <p:cNvSpPr txBox="1"/>
          <p:nvPr/>
        </p:nvSpPr>
        <p:spPr>
          <a:xfrm>
            <a:off x="5781675" y="3914775"/>
            <a:ext cx="1828800" cy="1292662"/>
          </a:xfrm>
          <a:prstGeom prst="rect">
            <a:avLst/>
          </a:prstGeom>
          <a:ln>
            <a:solidFill>
              <a:schemeClr val="tx1"/>
            </a:solidFill>
          </a:ln>
        </p:spPr>
        <p:txBody>
          <a:bodyPr wrap="square" lIns="0" tIns="0" rIns="0" bIns="0" rtlCol="0">
            <a:spAutoFit/>
          </a:bodyPr>
          <a:lstStyle/>
          <a:p>
            <a:pPr algn="ctr"/>
            <a:r>
              <a:rPr lang="fr-FR" sz="1400" dirty="0">
                <a:latin typeface="Helvetica 75" panose="020B0804020202020204"/>
              </a:rPr>
              <a:t>Lucie : ordinateur Quantique chez </a:t>
            </a:r>
            <a:r>
              <a:rPr lang="fr-FR" sz="1400" dirty="0" err="1">
                <a:latin typeface="Helvetica 75" panose="020B0804020202020204"/>
              </a:rPr>
              <a:t>Quandela</a:t>
            </a:r>
            <a:r>
              <a:rPr lang="fr-FR" sz="1400" dirty="0">
                <a:latin typeface="Helvetica 75" panose="020B0804020202020204"/>
              </a:rPr>
              <a:t>, 12 </a:t>
            </a:r>
            <a:r>
              <a:rPr lang="fr-FR" sz="1400" dirty="0" err="1">
                <a:latin typeface="Helvetica 75" panose="020B0804020202020204"/>
              </a:rPr>
              <a:t>Qbits</a:t>
            </a:r>
            <a:r>
              <a:rPr lang="fr-FR" sz="1400" dirty="0">
                <a:latin typeface="Helvetica 75" panose="020B0804020202020204"/>
              </a:rPr>
              <a:t>, ordinateur photonique le plus puissant dans un centre de calcul</a:t>
            </a:r>
          </a:p>
        </p:txBody>
      </p:sp>
    </p:spTree>
    <p:extLst>
      <p:ext uri="{BB962C8B-B14F-4D97-AF65-F5344CB8AC3E}">
        <p14:creationId xmlns:p14="http://schemas.microsoft.com/office/powerpoint/2010/main" val="628859937"/>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D39DC9-DF72-22AF-3338-746BEE84C76F}"/>
              </a:ext>
            </a:extLst>
          </p:cNvPr>
          <p:cNvSpPr>
            <a:spLocks noGrp="1"/>
          </p:cNvSpPr>
          <p:nvPr>
            <p:ph type="title"/>
          </p:nvPr>
        </p:nvSpPr>
        <p:spPr>
          <a:xfrm>
            <a:off x="223051" y="168473"/>
            <a:ext cx="11555028" cy="555427"/>
          </a:xfrm>
        </p:spPr>
        <p:txBody>
          <a:bodyPr>
            <a:normAutofit/>
          </a:bodyPr>
          <a:lstStyle/>
          <a:p>
            <a:r>
              <a:rPr lang="fr-FR" sz="3600" dirty="0">
                <a:latin typeface="Helvetica 75 Bold" panose="02000803050000020004" pitchFamily="2" charset="0"/>
              </a:rPr>
              <a:t>15. Les domaines applicatifs de l’intrication quantique</a:t>
            </a:r>
          </a:p>
        </p:txBody>
      </p:sp>
      <p:sp>
        <p:nvSpPr>
          <p:cNvPr id="3" name="Espace réservé du contenu 2">
            <a:extLst>
              <a:ext uri="{FF2B5EF4-FFF2-40B4-BE49-F238E27FC236}">
                <a16:creationId xmlns:a16="http://schemas.microsoft.com/office/drawing/2014/main" id="{373AD956-2655-E22A-40AA-870E648FAED3}"/>
              </a:ext>
            </a:extLst>
          </p:cNvPr>
          <p:cNvSpPr>
            <a:spLocks noGrp="1"/>
          </p:cNvSpPr>
          <p:nvPr>
            <p:ph idx="1"/>
          </p:nvPr>
        </p:nvSpPr>
        <p:spPr>
          <a:xfrm>
            <a:off x="257901" y="942975"/>
            <a:ext cx="11812480" cy="5372101"/>
          </a:xfrm>
        </p:spPr>
        <p:txBody>
          <a:bodyPr>
            <a:normAutofit fontScale="77500" lnSpcReduction="20000"/>
          </a:bodyPr>
          <a:lstStyle/>
          <a:p>
            <a:pPr marL="342900" indent="-342900">
              <a:buClrTx/>
              <a:buSzPct val="100000"/>
              <a:buFont typeface="Arial" panose="020B0604020202020204" pitchFamily="34" charset="0"/>
              <a:buChar char="•"/>
            </a:pPr>
            <a:r>
              <a:rPr lang="fr-FR" sz="1900" dirty="0">
                <a:solidFill>
                  <a:schemeClr val="tx1"/>
                </a:solidFill>
                <a:latin typeface="Helvetica 75"/>
              </a:rPr>
              <a:t>Les Qubits : unités de base de l'informatique Q,  vitesse d’un ordinateur x1000 / 100 000 / 1 million etc. Puissance de calcul</a:t>
            </a:r>
          </a:p>
          <a:p>
            <a:pPr marL="342900" indent="-342900">
              <a:buClrTx/>
              <a:buSzPct val="100000"/>
              <a:buFont typeface="Arial" panose="020B0604020202020204" pitchFamily="34" charset="0"/>
              <a:buChar char="•"/>
            </a:pPr>
            <a:r>
              <a:rPr lang="fr-FR" sz="1900" dirty="0">
                <a:solidFill>
                  <a:schemeClr val="tx1"/>
                </a:solidFill>
                <a:latin typeface="Helvetica 75"/>
              </a:rPr>
              <a:t>Les répéteurs quantiques : utilisé pour étendre la portée de la communication quantique en relayant des signaux quantiques sur des grandes distances. </a:t>
            </a:r>
          </a:p>
          <a:p>
            <a:pPr marL="342900" indent="-342900">
              <a:buClrTx/>
              <a:buSzPct val="100000"/>
              <a:buFont typeface="Arial" panose="020B0604020202020204" pitchFamily="34" charset="0"/>
              <a:buChar char="•"/>
            </a:pPr>
            <a:r>
              <a:rPr lang="fr-FR" sz="1900" dirty="0">
                <a:solidFill>
                  <a:schemeClr val="tx1"/>
                </a:solidFill>
                <a:latin typeface="Helvetica 75"/>
              </a:rPr>
              <a:t>Cryptographie par intrication : La cryptographie quantique : sécuriser les communications, distribution QKD, clé quantique inviolable</a:t>
            </a:r>
          </a:p>
          <a:p>
            <a:pPr marL="342900" indent="-342900">
              <a:buClrTx/>
              <a:buSzPct val="100000"/>
              <a:buFont typeface="Arial" panose="020B0604020202020204" pitchFamily="34" charset="0"/>
              <a:buChar char="•"/>
            </a:pPr>
            <a:r>
              <a:rPr lang="fr-FR" sz="1900" dirty="0">
                <a:solidFill>
                  <a:schemeClr val="tx1"/>
                </a:solidFill>
                <a:latin typeface="Helvetica 75"/>
              </a:rPr>
              <a:t>La téléportation quantique</a:t>
            </a:r>
          </a:p>
          <a:p>
            <a:pPr marL="342900" indent="-342900">
              <a:buClrTx/>
              <a:buSzPct val="100000"/>
              <a:buFont typeface="Arial" panose="020B0604020202020204" pitchFamily="34" charset="0"/>
              <a:buChar char="•"/>
            </a:pPr>
            <a:r>
              <a:rPr lang="fr-FR" sz="1900" dirty="0">
                <a:solidFill>
                  <a:schemeClr val="tx1"/>
                </a:solidFill>
                <a:latin typeface="Helvetica 75"/>
              </a:rPr>
              <a:t>La fibre quantique </a:t>
            </a:r>
          </a:p>
          <a:p>
            <a:pPr marL="342900" indent="-342900">
              <a:buClrTx/>
              <a:buSzPct val="100000"/>
              <a:buFont typeface="Arial" panose="020B0604020202020204" pitchFamily="34" charset="0"/>
              <a:buChar char="•"/>
            </a:pPr>
            <a:r>
              <a:rPr lang="fr-FR" sz="1900" dirty="0">
                <a:solidFill>
                  <a:schemeClr val="tx1"/>
                </a:solidFill>
                <a:latin typeface="Helvetica 75"/>
              </a:rPr>
              <a:t>Les mémoires quantiques : dispositif pour stocker des états quantiques (sauvegarde allant </a:t>
            </a:r>
            <a:r>
              <a:rPr lang="fr-FR" sz="1900" dirty="0" err="1">
                <a:solidFill>
                  <a:schemeClr val="tx1"/>
                </a:solidFill>
                <a:latin typeface="Helvetica 75"/>
              </a:rPr>
              <a:t>jusqu</a:t>
            </a:r>
            <a:r>
              <a:rPr lang="fr-FR" sz="1900" dirty="0">
                <a:solidFill>
                  <a:schemeClr val="tx1"/>
                </a:solidFill>
                <a:latin typeface="Helvetica 75"/>
              </a:rPr>
              <a:t> à la </a:t>
            </a:r>
            <a:r>
              <a:rPr lang="fr-FR" sz="1900" dirty="0" err="1">
                <a:solidFill>
                  <a:schemeClr val="tx1"/>
                </a:solidFill>
                <a:latin typeface="Helvetica 75"/>
              </a:rPr>
              <a:t>nano-seconde</a:t>
            </a:r>
            <a:r>
              <a:rPr lang="fr-FR" sz="1900" dirty="0">
                <a:solidFill>
                  <a:schemeClr val="tx1"/>
                </a:solidFill>
                <a:latin typeface="Helvetica 75"/>
              </a:rPr>
              <a:t>*)</a:t>
            </a:r>
          </a:p>
          <a:p>
            <a:pPr marL="342900" indent="-342900">
              <a:buClrTx/>
              <a:buSzPct val="100000"/>
              <a:buFont typeface="Arial" panose="020B0604020202020204" pitchFamily="34" charset="0"/>
              <a:buChar char="•"/>
            </a:pPr>
            <a:r>
              <a:rPr lang="fr-FR" sz="1900" dirty="0">
                <a:solidFill>
                  <a:schemeClr val="tx1"/>
                </a:solidFill>
                <a:latin typeface="Helvetica 75"/>
              </a:rPr>
              <a:t>Capteurs quantiques : améliorer les mesures dans l’imagerie médicale</a:t>
            </a:r>
          </a:p>
          <a:p>
            <a:pPr marL="342900" indent="-342900">
              <a:buClrTx/>
              <a:buSzPct val="100000"/>
              <a:buFont typeface="Arial" panose="020B0604020202020204" pitchFamily="34" charset="0"/>
              <a:buChar char="•"/>
            </a:pPr>
            <a:r>
              <a:rPr lang="fr-FR" sz="1900" b="1" dirty="0">
                <a:solidFill>
                  <a:schemeClr val="tx1"/>
                </a:solidFill>
                <a:latin typeface="Helvetica 75"/>
              </a:rPr>
              <a:t>La cryptographie quantique : sécuriser les communications, distribution QKD, clé quantique inviolable</a:t>
            </a:r>
          </a:p>
          <a:p>
            <a:pPr marL="342900" indent="-342900">
              <a:buClrTx/>
              <a:buSzPct val="100000"/>
              <a:buFont typeface="Arial" panose="020B0604020202020204" pitchFamily="34" charset="0"/>
              <a:buChar char="•"/>
            </a:pPr>
            <a:r>
              <a:rPr lang="fr-FR" sz="1900" b="1" dirty="0">
                <a:solidFill>
                  <a:schemeClr val="tx1"/>
                </a:solidFill>
                <a:latin typeface="Helvetica 75"/>
              </a:rPr>
              <a:t>La génération des clés quantiques : QRNG (Quantum </a:t>
            </a:r>
            <a:r>
              <a:rPr lang="fr-FR" sz="1900" b="1" dirty="0" err="1">
                <a:solidFill>
                  <a:schemeClr val="tx1"/>
                </a:solidFill>
                <a:latin typeface="Helvetica 75"/>
              </a:rPr>
              <a:t>Random</a:t>
            </a:r>
            <a:r>
              <a:rPr lang="fr-FR" sz="1900" b="1" dirty="0">
                <a:solidFill>
                  <a:schemeClr val="tx1"/>
                </a:solidFill>
                <a:latin typeface="Helvetica 75"/>
              </a:rPr>
              <a:t> </a:t>
            </a:r>
            <a:r>
              <a:rPr lang="fr-FR" sz="1900" b="1" dirty="0" err="1">
                <a:solidFill>
                  <a:schemeClr val="tx1"/>
                </a:solidFill>
                <a:latin typeface="Helvetica 75"/>
              </a:rPr>
              <a:t>Number</a:t>
            </a:r>
            <a:r>
              <a:rPr lang="fr-FR" sz="1900" b="1" dirty="0">
                <a:solidFill>
                  <a:schemeClr val="tx1"/>
                </a:solidFill>
                <a:latin typeface="Helvetica 75"/>
              </a:rPr>
              <a:t> </a:t>
            </a:r>
            <a:r>
              <a:rPr lang="fr-FR" sz="1900" b="1" dirty="0" err="1">
                <a:solidFill>
                  <a:schemeClr val="tx1"/>
                </a:solidFill>
                <a:latin typeface="Helvetica 75"/>
              </a:rPr>
              <a:t>Generator</a:t>
            </a:r>
            <a:r>
              <a:rPr lang="fr-FR" sz="1900" b="1" dirty="0">
                <a:solidFill>
                  <a:schemeClr val="tx1"/>
                </a:solidFill>
                <a:latin typeface="Helvetica 75"/>
              </a:rPr>
              <a:t>), génère des nb aléatoires (fonction </a:t>
            </a:r>
            <a:r>
              <a:rPr lang="fr-FR" sz="1900" b="1" dirty="0" err="1">
                <a:solidFill>
                  <a:schemeClr val="tx1"/>
                </a:solidFill>
                <a:latin typeface="Helvetica 75"/>
              </a:rPr>
              <a:t>random</a:t>
            </a:r>
            <a:r>
              <a:rPr lang="fr-FR" sz="1900" b="1" dirty="0">
                <a:solidFill>
                  <a:schemeClr val="tx1"/>
                </a:solidFill>
                <a:latin typeface="Helvetica 75"/>
              </a:rPr>
              <a:t>)</a:t>
            </a:r>
          </a:p>
          <a:p>
            <a:pPr marL="342900" indent="-342900">
              <a:buClrTx/>
              <a:buSzPct val="100000"/>
              <a:buFont typeface="Arial" panose="020B0604020202020204" pitchFamily="34" charset="0"/>
              <a:buChar char="•"/>
            </a:pPr>
            <a:r>
              <a:rPr lang="fr-FR" sz="1900" b="1" dirty="0">
                <a:solidFill>
                  <a:schemeClr val="tx1"/>
                </a:solidFill>
                <a:latin typeface="Helvetica 75"/>
              </a:rPr>
              <a:t>Le calcul quantique : la factorisation des grands nb, révolution dans les simulateurs, puces quantiques, recuit quantique (quantum </a:t>
            </a:r>
            <a:r>
              <a:rPr lang="fr-FR" sz="1900" b="1" dirty="0" err="1">
                <a:solidFill>
                  <a:schemeClr val="tx1"/>
                </a:solidFill>
                <a:latin typeface="Helvetica 75"/>
              </a:rPr>
              <a:t>annealer</a:t>
            </a:r>
            <a:r>
              <a:rPr lang="fr-FR" sz="1900" b="1" dirty="0">
                <a:solidFill>
                  <a:schemeClr val="tx1"/>
                </a:solidFill>
                <a:latin typeface="Helvetica 75"/>
              </a:rPr>
              <a:t>) permet des équipes / évènements simultanés.</a:t>
            </a:r>
          </a:p>
          <a:p>
            <a:pPr marL="342900" indent="-342900">
              <a:buClrTx/>
              <a:buSzPct val="100000"/>
              <a:buFont typeface="Arial" panose="020B0604020202020204" pitchFamily="34" charset="0"/>
              <a:buChar char="•"/>
            </a:pPr>
            <a:r>
              <a:rPr lang="fr-FR" sz="1900" b="1" dirty="0">
                <a:solidFill>
                  <a:schemeClr val="tx1"/>
                </a:solidFill>
                <a:latin typeface="Helvetica 75"/>
              </a:rPr>
              <a:t>Les réseaux quantiques : réseaux qui utilisent des ordinateurs quantiques pour les relier entre eux </a:t>
            </a:r>
          </a:p>
          <a:p>
            <a:pPr marL="342900" indent="-342900">
              <a:buClrTx/>
              <a:buSzPct val="100000"/>
              <a:buFont typeface="Arial" panose="020B0604020202020204" pitchFamily="34" charset="0"/>
              <a:buChar char="•"/>
            </a:pPr>
            <a:r>
              <a:rPr lang="fr-FR" sz="1900" dirty="0">
                <a:solidFill>
                  <a:schemeClr val="tx1"/>
                </a:solidFill>
                <a:latin typeface="Helvetica 75"/>
              </a:rPr>
              <a:t>Métrologie quantique : améliore la précision de mesure dans le domaine de l'imagerie, algo de traitement image, navigation GPS, détection de signaux faibles </a:t>
            </a:r>
            <a:endParaRPr lang="fr-FR" dirty="0">
              <a:latin typeface="Helvetica 75"/>
            </a:endParaRPr>
          </a:p>
          <a:p>
            <a:endParaRPr lang="fr-FR" dirty="0"/>
          </a:p>
          <a:p>
            <a:endParaRPr lang="fr-FR" dirty="0"/>
          </a:p>
        </p:txBody>
      </p:sp>
      <p:sp>
        <p:nvSpPr>
          <p:cNvPr id="4" name="Espace réservé du numéro de diapositive 3">
            <a:extLst>
              <a:ext uri="{FF2B5EF4-FFF2-40B4-BE49-F238E27FC236}">
                <a16:creationId xmlns:a16="http://schemas.microsoft.com/office/drawing/2014/main" id="{ABC8D72F-0255-0779-59EE-974E6A691199}"/>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21</a:t>
            </a:fld>
            <a:endParaRPr lang="fr-FR"/>
          </a:p>
        </p:txBody>
      </p:sp>
      <p:grpSp>
        <p:nvGrpSpPr>
          <p:cNvPr id="5" name="Groupe 4">
            <a:extLst>
              <a:ext uri="{FF2B5EF4-FFF2-40B4-BE49-F238E27FC236}">
                <a16:creationId xmlns:a16="http://schemas.microsoft.com/office/drawing/2014/main" id="{BDD4E7BE-7933-777F-36DC-6912F01E9106}"/>
              </a:ext>
            </a:extLst>
          </p:cNvPr>
          <p:cNvGrpSpPr/>
          <p:nvPr/>
        </p:nvGrpSpPr>
        <p:grpSpPr>
          <a:xfrm>
            <a:off x="0" y="6169848"/>
            <a:ext cx="12192000" cy="688152"/>
            <a:chOff x="0" y="6163498"/>
            <a:chExt cx="12192000" cy="688152"/>
          </a:xfrm>
        </p:grpSpPr>
        <p:sp>
          <p:nvSpPr>
            <p:cNvPr id="6" name="Freeform 2">
              <a:extLst>
                <a:ext uri="{FF2B5EF4-FFF2-40B4-BE49-F238E27FC236}">
                  <a16:creationId xmlns:a16="http://schemas.microsoft.com/office/drawing/2014/main" id="{9E846A84-5FA5-0384-BD01-A015E6453761}"/>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7" name="TextBox 3">
              <a:extLst>
                <a:ext uri="{FF2B5EF4-FFF2-40B4-BE49-F238E27FC236}">
                  <a16:creationId xmlns:a16="http://schemas.microsoft.com/office/drawing/2014/main" id="{B49471E3-8BF7-977B-FAF2-A26B8F96EA4A}"/>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8" name="TextBox 4">
              <a:extLst>
                <a:ext uri="{FF2B5EF4-FFF2-40B4-BE49-F238E27FC236}">
                  <a16:creationId xmlns:a16="http://schemas.microsoft.com/office/drawing/2014/main" id="{CA79619C-D541-7B5C-9A32-50FF7BDF4A70}"/>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8404733"/>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FC484A0-6CA1-2080-3B24-28BC5F51197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61322"/>
            <a:ext cx="12192000" cy="5601956"/>
          </a:xfrm>
          <a:prstGeom prst="rect">
            <a:avLst/>
          </a:prstGeom>
        </p:spPr>
      </p:pic>
    </p:spTree>
    <p:extLst>
      <p:ext uri="{BB962C8B-B14F-4D97-AF65-F5344CB8AC3E}">
        <p14:creationId xmlns:p14="http://schemas.microsoft.com/office/powerpoint/2010/main" val="753989221"/>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084359-1C03-F575-BE0D-7879C989E05B}"/>
              </a:ext>
            </a:extLst>
          </p:cNvPr>
          <p:cNvSpPr>
            <a:spLocks noGrp="1"/>
          </p:cNvSpPr>
          <p:nvPr>
            <p:ph type="title"/>
          </p:nvPr>
        </p:nvSpPr>
        <p:spPr>
          <a:xfrm>
            <a:off x="119593" y="233893"/>
            <a:ext cx="11294533" cy="831851"/>
          </a:xfrm>
        </p:spPr>
        <p:txBody>
          <a:bodyPr/>
          <a:lstStyle/>
          <a:p>
            <a:r>
              <a:rPr lang="fr-FR" dirty="0"/>
              <a:t>16. Les investissements dans le Quantique</a:t>
            </a:r>
          </a:p>
        </p:txBody>
      </p:sp>
      <p:sp>
        <p:nvSpPr>
          <p:cNvPr id="3" name="Espace réservé du contenu 2">
            <a:extLst>
              <a:ext uri="{FF2B5EF4-FFF2-40B4-BE49-F238E27FC236}">
                <a16:creationId xmlns:a16="http://schemas.microsoft.com/office/drawing/2014/main" id="{0677BE77-C863-1408-C2AC-DC1878AF2D99}"/>
              </a:ext>
            </a:extLst>
          </p:cNvPr>
          <p:cNvSpPr>
            <a:spLocks noGrp="1"/>
          </p:cNvSpPr>
          <p:nvPr>
            <p:ph idx="1"/>
          </p:nvPr>
        </p:nvSpPr>
        <p:spPr>
          <a:xfrm>
            <a:off x="6092463" y="740644"/>
            <a:ext cx="5869552" cy="5161392"/>
          </a:xfrm>
        </p:spPr>
        <p:txBody>
          <a:bodyPr/>
          <a:lstStyle/>
          <a:p>
            <a:r>
              <a:rPr lang="fr-FR" sz="2000" dirty="0">
                <a:solidFill>
                  <a:schemeClr val="tx1"/>
                </a:solidFill>
                <a:latin typeface="Helvetica 75" panose="020B0804020202020204"/>
              </a:rPr>
              <a:t>World Quantum Day 2025 14 avril de chaque année (constante de Planck arrondie 4,14)</a:t>
            </a:r>
          </a:p>
          <a:p>
            <a:r>
              <a:rPr lang="fr-FR" sz="2000" dirty="0">
                <a:solidFill>
                  <a:schemeClr val="tx1"/>
                </a:solidFill>
                <a:latin typeface="Helvetica 75" panose="020B0804020202020204"/>
              </a:rPr>
              <a:t>ONU déclare l'année 2025 comme internationale des sciences et technologies quantiques.</a:t>
            </a:r>
          </a:p>
          <a:p>
            <a:r>
              <a:rPr lang="fr-FR" sz="2000" dirty="0">
                <a:solidFill>
                  <a:schemeClr val="tx1"/>
                </a:solidFill>
                <a:latin typeface="Helvetica 75" panose="020B0804020202020204"/>
              </a:rPr>
              <a:t>Investissements par pays / continent :</a:t>
            </a:r>
            <a:br>
              <a:rPr lang="fr-FR" sz="2000" dirty="0">
                <a:solidFill>
                  <a:schemeClr val="tx1"/>
                </a:solidFill>
                <a:latin typeface="Helvetica 75" panose="020B0804020202020204"/>
              </a:rPr>
            </a:br>
            <a:r>
              <a:rPr lang="fr-FR" sz="2000" dirty="0">
                <a:solidFill>
                  <a:schemeClr val="tx1"/>
                </a:solidFill>
                <a:latin typeface="Helvetica 75" panose="020B0804020202020204"/>
              </a:rPr>
              <a:t>France 1Md€ 2025</a:t>
            </a:r>
            <a:br>
              <a:rPr lang="fr-FR" sz="2000" dirty="0">
                <a:solidFill>
                  <a:schemeClr val="tx1"/>
                </a:solidFill>
                <a:latin typeface="Helvetica 75" panose="020B0804020202020204"/>
              </a:rPr>
            </a:br>
            <a:r>
              <a:rPr lang="fr-FR" sz="2000" dirty="0">
                <a:solidFill>
                  <a:schemeClr val="tx1"/>
                </a:solidFill>
                <a:latin typeface="Helvetica 75" panose="020B0804020202020204"/>
              </a:rPr>
              <a:t>UE Quantum 1Md€ 2028</a:t>
            </a:r>
            <a:br>
              <a:rPr lang="fr-FR" sz="2000" dirty="0">
                <a:solidFill>
                  <a:schemeClr val="tx1"/>
                </a:solidFill>
                <a:latin typeface="Helvetica 75" panose="020B0804020202020204"/>
              </a:rPr>
            </a:br>
            <a:r>
              <a:rPr lang="fr-FR" sz="2000" dirty="0">
                <a:solidFill>
                  <a:schemeClr val="tx1"/>
                </a:solidFill>
                <a:latin typeface="Helvetica 75" panose="020B0804020202020204"/>
              </a:rPr>
              <a:t>US 1,8 Md$ 2029</a:t>
            </a:r>
            <a:br>
              <a:rPr lang="fr-FR" sz="2000" dirty="0">
                <a:solidFill>
                  <a:schemeClr val="tx1"/>
                </a:solidFill>
                <a:latin typeface="Helvetica 75" panose="020B0804020202020204"/>
              </a:rPr>
            </a:br>
            <a:r>
              <a:rPr lang="fr-FR" sz="2000" dirty="0">
                <a:solidFill>
                  <a:schemeClr val="tx1"/>
                </a:solidFill>
                <a:latin typeface="Helvetica 75" panose="020B0804020202020204"/>
              </a:rPr>
              <a:t>Chine 15Md $</a:t>
            </a:r>
            <a:br>
              <a:rPr lang="fr-FR" sz="2000" dirty="0">
                <a:solidFill>
                  <a:schemeClr val="tx1"/>
                </a:solidFill>
                <a:latin typeface="Helvetica 75" panose="020B0804020202020204"/>
              </a:rPr>
            </a:br>
            <a:r>
              <a:rPr lang="fr-FR" sz="2000" dirty="0">
                <a:solidFill>
                  <a:schemeClr val="tx1"/>
                </a:solidFill>
                <a:latin typeface="Helvetica 75" panose="020B0804020202020204"/>
              </a:rPr>
              <a:t>Japon 7,4 Md$</a:t>
            </a:r>
          </a:p>
          <a:p>
            <a:r>
              <a:rPr lang="fr-FR" sz="2000" dirty="0">
                <a:solidFill>
                  <a:schemeClr val="tx1"/>
                </a:solidFill>
                <a:latin typeface="Helvetica 75" panose="020B0804020202020204"/>
              </a:rPr>
              <a:t>Les sociétés Quantiques :</a:t>
            </a:r>
            <a:br>
              <a:rPr lang="fr-FR" sz="2000" dirty="0">
                <a:solidFill>
                  <a:schemeClr val="tx1"/>
                </a:solidFill>
                <a:latin typeface="Helvetica 75" panose="020B0804020202020204"/>
              </a:rPr>
            </a:br>
            <a:r>
              <a:rPr lang="fr-FR" sz="2000" dirty="0">
                <a:solidFill>
                  <a:schemeClr val="tx1"/>
                </a:solidFill>
                <a:latin typeface="Helvetica 75" panose="020B0804020202020204"/>
              </a:rPr>
              <a:t>Alice et Bob 109 M€</a:t>
            </a:r>
            <a:br>
              <a:rPr lang="fr-FR" sz="2000" dirty="0">
                <a:solidFill>
                  <a:schemeClr val="tx1"/>
                </a:solidFill>
                <a:latin typeface="Helvetica 75" panose="020B0804020202020204"/>
              </a:rPr>
            </a:br>
            <a:r>
              <a:rPr lang="fr-FR" sz="2000" dirty="0" err="1">
                <a:solidFill>
                  <a:schemeClr val="tx1"/>
                </a:solidFill>
                <a:latin typeface="Helvetica 75" panose="020B0804020202020204"/>
              </a:rPr>
              <a:t>Pasqal</a:t>
            </a:r>
            <a:r>
              <a:rPr lang="fr-FR" sz="2000" dirty="0">
                <a:solidFill>
                  <a:schemeClr val="tx1"/>
                </a:solidFill>
                <a:latin typeface="Helvetica 75" panose="020B0804020202020204"/>
              </a:rPr>
              <a:t> 100 M€</a:t>
            </a:r>
            <a:br>
              <a:rPr lang="fr-FR" sz="2000" dirty="0">
                <a:solidFill>
                  <a:schemeClr val="tx1"/>
                </a:solidFill>
                <a:latin typeface="Helvetica 75" panose="020B0804020202020204"/>
              </a:rPr>
            </a:br>
            <a:r>
              <a:rPr lang="fr-FR" sz="2000" dirty="0" err="1">
                <a:solidFill>
                  <a:schemeClr val="tx1"/>
                </a:solidFill>
                <a:latin typeface="Helvetica 75" panose="020B0804020202020204"/>
              </a:rPr>
              <a:t>Quandela</a:t>
            </a:r>
            <a:r>
              <a:rPr lang="fr-FR" sz="2000" dirty="0">
                <a:solidFill>
                  <a:schemeClr val="tx1"/>
                </a:solidFill>
                <a:latin typeface="Helvetica 75" panose="020B0804020202020204"/>
              </a:rPr>
              <a:t> 50 M€</a:t>
            </a:r>
            <a:br>
              <a:rPr lang="fr-FR" sz="2000" dirty="0">
                <a:solidFill>
                  <a:schemeClr val="tx1"/>
                </a:solidFill>
                <a:latin typeface="Helvetica 75" panose="020B0804020202020204"/>
              </a:rPr>
            </a:br>
            <a:r>
              <a:rPr lang="fr-FR" sz="2000" dirty="0">
                <a:solidFill>
                  <a:schemeClr val="tx1"/>
                </a:solidFill>
                <a:latin typeface="Helvetica 75" panose="020B0804020202020204"/>
              </a:rPr>
              <a:t>Quamcore 26 M€</a:t>
            </a:r>
            <a:br>
              <a:rPr lang="fr-FR" sz="2000" dirty="0">
                <a:solidFill>
                  <a:schemeClr val="tx1"/>
                </a:solidFill>
                <a:latin typeface="Helvetica 75" panose="020B0804020202020204"/>
              </a:rPr>
            </a:br>
            <a:endParaRPr lang="fr-FR" sz="2000" dirty="0">
              <a:solidFill>
                <a:schemeClr val="tx1"/>
              </a:solidFill>
              <a:latin typeface="Helvetica 75" panose="020B0804020202020204"/>
            </a:endParaRPr>
          </a:p>
          <a:p>
            <a:endParaRPr lang="fr-FR" sz="2000" dirty="0">
              <a:solidFill>
                <a:schemeClr val="tx1"/>
              </a:solidFill>
              <a:latin typeface="Helvetica 75" panose="020B0804020202020204"/>
            </a:endParaRPr>
          </a:p>
          <a:p>
            <a:endParaRPr lang="fr-FR" dirty="0"/>
          </a:p>
        </p:txBody>
      </p:sp>
      <p:pic>
        <p:nvPicPr>
          <p:cNvPr id="5" name="Image 4" descr="Une image contenant texte, capture d’écran, ligne, diagramme">
            <a:extLst>
              <a:ext uri="{FF2B5EF4-FFF2-40B4-BE49-F238E27FC236}">
                <a16:creationId xmlns:a16="http://schemas.microsoft.com/office/drawing/2014/main" id="{4027E82A-8299-7E77-AB86-3377407EF05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28358" y="980820"/>
            <a:ext cx="5138991" cy="5152479"/>
          </a:xfrm>
          <a:prstGeom prst="rect">
            <a:avLst/>
          </a:prstGeom>
        </p:spPr>
      </p:pic>
    </p:spTree>
    <p:extLst>
      <p:ext uri="{BB962C8B-B14F-4D97-AF65-F5344CB8AC3E}">
        <p14:creationId xmlns:p14="http://schemas.microsoft.com/office/powerpoint/2010/main" val="196137229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EE1D4A-D458-C1A0-C83D-97A6D7772C90}"/>
              </a:ext>
            </a:extLst>
          </p:cNvPr>
          <p:cNvSpPr>
            <a:spLocks noGrp="1"/>
          </p:cNvSpPr>
          <p:nvPr>
            <p:ph type="ctrTitle"/>
          </p:nvPr>
        </p:nvSpPr>
        <p:spPr>
          <a:xfrm>
            <a:off x="5400675" y="2699055"/>
            <a:ext cx="1828800" cy="1297115"/>
          </a:xfrm>
        </p:spPr>
        <p:txBody>
          <a:bodyPr anchor="t">
            <a:noAutofit/>
          </a:bodyPr>
          <a:lstStyle/>
          <a:p>
            <a:pPr algn="l"/>
            <a:r>
              <a:rPr lang="fr-FR" sz="4800" dirty="0"/>
              <a:t>Q&amp;R</a:t>
            </a:r>
          </a:p>
        </p:txBody>
      </p:sp>
      <p:sp>
        <p:nvSpPr>
          <p:cNvPr id="4" name="Espace réservé du numéro de diapositive 3">
            <a:extLst>
              <a:ext uri="{FF2B5EF4-FFF2-40B4-BE49-F238E27FC236}">
                <a16:creationId xmlns:a16="http://schemas.microsoft.com/office/drawing/2014/main" id="{8833500C-F308-2958-DA4D-4526A7534A9C}"/>
              </a:ext>
            </a:extLst>
          </p:cNvPr>
          <p:cNvSpPr>
            <a:spLocks noGrp="1"/>
          </p:cNvSpPr>
          <p:nvPr>
            <p:ph type="sldNum" sz="quarter" idx="12"/>
          </p:nvPr>
        </p:nvSpPr>
        <p:spPr/>
        <p:txBody>
          <a:bodyPr>
            <a:normAutofit fontScale="25000" lnSpcReduction="20000"/>
          </a:bodyPr>
          <a:lstStyle/>
          <a:p>
            <a:pPr>
              <a:spcAft>
                <a:spcPts val="600"/>
              </a:spcAft>
            </a:pPr>
            <a:fld id="{27C6CCC6-2BE5-4E42-96A4-D1E8E81A3D8E}" type="slidenum">
              <a:rPr lang="fr-FR" smtClean="0"/>
              <a:pPr>
                <a:spcAft>
                  <a:spcPts val="600"/>
                </a:spcAft>
              </a:pPr>
              <a:t>24</a:t>
            </a:fld>
            <a:endParaRPr lang="fr-FR"/>
          </a:p>
        </p:txBody>
      </p:sp>
      <p:pic>
        <p:nvPicPr>
          <p:cNvPr id="10" name="Graphic 9" descr="Chat Bubble">
            <a:extLst>
              <a:ext uri="{FF2B5EF4-FFF2-40B4-BE49-F238E27FC236}">
                <a16:creationId xmlns:a16="http://schemas.microsoft.com/office/drawing/2014/main" id="{C88E63BA-D6EC-CABD-223E-14317FD610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470" y="1815320"/>
            <a:ext cx="4141760" cy="4141760"/>
          </a:xfrm>
          <a:custGeom>
            <a:avLst/>
            <a:gdLst/>
            <a:ahLst/>
            <a:cxnLst/>
            <a:rect l="l" t="t" r="r" b="b"/>
            <a:pathLst>
              <a:path w="4141760" h="4377846">
                <a:moveTo>
                  <a:pt x="0" y="0"/>
                </a:moveTo>
                <a:lnTo>
                  <a:pt x="4141760" y="0"/>
                </a:lnTo>
                <a:lnTo>
                  <a:pt x="4141760" y="4377846"/>
                </a:lnTo>
                <a:lnTo>
                  <a:pt x="0" y="4377846"/>
                </a:lnTo>
                <a:close/>
              </a:path>
            </a:pathLst>
          </a:custGeom>
        </p:spPr>
      </p:pic>
      <p:grpSp>
        <p:nvGrpSpPr>
          <p:cNvPr id="3" name="Groupe 2">
            <a:extLst>
              <a:ext uri="{FF2B5EF4-FFF2-40B4-BE49-F238E27FC236}">
                <a16:creationId xmlns:a16="http://schemas.microsoft.com/office/drawing/2014/main" id="{75DD0844-DB51-A9DD-09BE-5C5AC17D9EC4}"/>
              </a:ext>
            </a:extLst>
          </p:cNvPr>
          <p:cNvGrpSpPr/>
          <p:nvPr/>
        </p:nvGrpSpPr>
        <p:grpSpPr>
          <a:xfrm>
            <a:off x="0" y="6169848"/>
            <a:ext cx="12192000" cy="688152"/>
            <a:chOff x="0" y="6163498"/>
            <a:chExt cx="12192000" cy="688152"/>
          </a:xfrm>
        </p:grpSpPr>
        <p:sp>
          <p:nvSpPr>
            <p:cNvPr id="5" name="Freeform 2">
              <a:extLst>
                <a:ext uri="{FF2B5EF4-FFF2-40B4-BE49-F238E27FC236}">
                  <a16:creationId xmlns:a16="http://schemas.microsoft.com/office/drawing/2014/main" id="{540BCCDD-5D35-8FFB-CC7F-63EF6AF15FE4}"/>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6" name="TextBox 3">
              <a:extLst>
                <a:ext uri="{FF2B5EF4-FFF2-40B4-BE49-F238E27FC236}">
                  <a16:creationId xmlns:a16="http://schemas.microsoft.com/office/drawing/2014/main" id="{D30D2ECF-A218-AC26-1F42-B14D8C7A7204}"/>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7" name="TextBox 4">
              <a:extLst>
                <a:ext uri="{FF2B5EF4-FFF2-40B4-BE49-F238E27FC236}">
                  <a16:creationId xmlns:a16="http://schemas.microsoft.com/office/drawing/2014/main" id="{86D79CB4-A45F-559A-CA53-13731028836F}"/>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1587082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10"/>
                                        </p:tgtEl>
                                        <p:attrNameLst>
                                          <p:attrName>style.visibility</p:attrName>
                                        </p:attrNameLst>
                                      </p:cBhvr>
                                      <p:to>
                                        <p:strVal val="visible"/>
                                      </p:to>
                                    </p:set>
                                    <p:animEffect transition="in" filter="fade">
                                      <p:cBhvr>
                                        <p:cTn id="10"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25C3B8-F6C2-EACE-1C63-FD90A36BF3D4}"/>
              </a:ext>
            </a:extLst>
          </p:cNvPr>
          <p:cNvSpPr>
            <a:spLocks noGrp="1"/>
          </p:cNvSpPr>
          <p:nvPr>
            <p:ph type="ctrTitle"/>
          </p:nvPr>
        </p:nvSpPr>
        <p:spPr>
          <a:xfrm>
            <a:off x="6810060" y="2794881"/>
            <a:ext cx="4805996" cy="1297115"/>
          </a:xfrm>
        </p:spPr>
        <p:txBody>
          <a:bodyPr anchor="t">
            <a:normAutofit/>
          </a:bodyPr>
          <a:lstStyle/>
          <a:p>
            <a:pPr algn="l"/>
            <a:r>
              <a:rPr lang="fr-FR" sz="8000" dirty="0"/>
              <a:t>MERCI !</a:t>
            </a:r>
          </a:p>
        </p:txBody>
      </p:sp>
      <p:sp>
        <p:nvSpPr>
          <p:cNvPr id="4" name="Espace réservé du numéro de diapositive 3">
            <a:extLst>
              <a:ext uri="{FF2B5EF4-FFF2-40B4-BE49-F238E27FC236}">
                <a16:creationId xmlns:a16="http://schemas.microsoft.com/office/drawing/2014/main" id="{E666C9F6-91AA-5AB7-51DF-3F085BED6CB1}"/>
              </a:ext>
            </a:extLst>
          </p:cNvPr>
          <p:cNvSpPr>
            <a:spLocks noGrp="1"/>
          </p:cNvSpPr>
          <p:nvPr>
            <p:ph type="sldNum" sz="quarter" idx="12"/>
          </p:nvPr>
        </p:nvSpPr>
        <p:spPr/>
        <p:txBody>
          <a:bodyPr>
            <a:normAutofit fontScale="25000" lnSpcReduction="20000"/>
          </a:bodyPr>
          <a:lstStyle/>
          <a:p>
            <a:pPr>
              <a:spcAft>
                <a:spcPts val="600"/>
              </a:spcAft>
            </a:pPr>
            <a:fld id="{27C6CCC6-2BE5-4E42-96A4-D1E8E81A3D8E}" type="slidenum">
              <a:rPr lang="fr-FR" smtClean="0"/>
              <a:pPr>
                <a:spcAft>
                  <a:spcPts val="600"/>
                </a:spcAft>
              </a:pPr>
              <a:t>25</a:t>
            </a:fld>
            <a:endParaRPr lang="fr-FR"/>
          </a:p>
        </p:txBody>
      </p:sp>
      <p:pic>
        <p:nvPicPr>
          <p:cNvPr id="8" name="Graphic 7" descr="Smiling Face with No Fill">
            <a:extLst>
              <a:ext uri="{FF2B5EF4-FFF2-40B4-BE49-F238E27FC236}">
                <a16:creationId xmlns:a16="http://schemas.microsoft.com/office/drawing/2014/main" id="{7279412F-E902-95E5-48FA-87EF88797E7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470" y="1815320"/>
            <a:ext cx="4141760" cy="4141760"/>
          </a:xfrm>
          <a:custGeom>
            <a:avLst/>
            <a:gdLst/>
            <a:ahLst/>
            <a:cxnLst/>
            <a:rect l="l" t="t" r="r" b="b"/>
            <a:pathLst>
              <a:path w="4141760" h="4377846">
                <a:moveTo>
                  <a:pt x="0" y="0"/>
                </a:moveTo>
                <a:lnTo>
                  <a:pt x="4141760" y="0"/>
                </a:lnTo>
                <a:lnTo>
                  <a:pt x="4141760" y="4377846"/>
                </a:lnTo>
                <a:lnTo>
                  <a:pt x="0" y="4377846"/>
                </a:lnTo>
                <a:close/>
              </a:path>
            </a:pathLst>
          </a:custGeom>
        </p:spPr>
      </p:pic>
      <p:grpSp>
        <p:nvGrpSpPr>
          <p:cNvPr id="3" name="Groupe 2">
            <a:extLst>
              <a:ext uri="{FF2B5EF4-FFF2-40B4-BE49-F238E27FC236}">
                <a16:creationId xmlns:a16="http://schemas.microsoft.com/office/drawing/2014/main" id="{39421027-FE52-FBEB-EF64-8E635EC5A4B3}"/>
              </a:ext>
            </a:extLst>
          </p:cNvPr>
          <p:cNvGrpSpPr/>
          <p:nvPr/>
        </p:nvGrpSpPr>
        <p:grpSpPr>
          <a:xfrm>
            <a:off x="0" y="6169848"/>
            <a:ext cx="12192000" cy="688152"/>
            <a:chOff x="0" y="6163498"/>
            <a:chExt cx="12192000" cy="688152"/>
          </a:xfrm>
        </p:grpSpPr>
        <p:sp>
          <p:nvSpPr>
            <p:cNvPr id="5" name="Freeform 2">
              <a:extLst>
                <a:ext uri="{FF2B5EF4-FFF2-40B4-BE49-F238E27FC236}">
                  <a16:creationId xmlns:a16="http://schemas.microsoft.com/office/drawing/2014/main" id="{C9748FB9-A857-8303-C1F9-82E30ED0FDD0}"/>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6" name="TextBox 3">
              <a:extLst>
                <a:ext uri="{FF2B5EF4-FFF2-40B4-BE49-F238E27FC236}">
                  <a16:creationId xmlns:a16="http://schemas.microsoft.com/office/drawing/2014/main" id="{985C463B-218A-5404-DD6B-9E87B5C5D05E}"/>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7" name="TextBox 4">
              <a:extLst>
                <a:ext uri="{FF2B5EF4-FFF2-40B4-BE49-F238E27FC236}">
                  <a16:creationId xmlns:a16="http://schemas.microsoft.com/office/drawing/2014/main" id="{0DAB93F3-989F-B269-06F9-38CF84608B3D}"/>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2777541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8"/>
                                        </p:tgtEl>
                                        <p:attrNameLst>
                                          <p:attrName>style.visibility</p:attrName>
                                        </p:attrNameLst>
                                      </p:cBhvr>
                                      <p:to>
                                        <p:strVal val="visible"/>
                                      </p:to>
                                    </p:set>
                                    <p:animEffect transition="in" filter="fade">
                                      <p:cBhvr>
                                        <p:cTn id="10"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15F12E-E72F-A2A9-3878-CB65C3DE8F5A}"/>
              </a:ext>
            </a:extLst>
          </p:cNvPr>
          <p:cNvSpPr>
            <a:spLocks noGrp="1"/>
          </p:cNvSpPr>
          <p:nvPr>
            <p:ph type="ctrTitle"/>
          </p:nvPr>
        </p:nvSpPr>
        <p:spPr>
          <a:xfrm>
            <a:off x="6228788" y="2676699"/>
            <a:ext cx="4453067" cy="1197032"/>
          </a:xfrm>
        </p:spPr>
        <p:txBody>
          <a:bodyPr anchor="b">
            <a:noAutofit/>
          </a:bodyPr>
          <a:lstStyle/>
          <a:p>
            <a:pPr algn="l"/>
            <a:r>
              <a:rPr lang="fr-FR" sz="6600" dirty="0"/>
              <a:t>Annexes</a:t>
            </a:r>
          </a:p>
        </p:txBody>
      </p:sp>
      <p:sp>
        <p:nvSpPr>
          <p:cNvPr id="4" name="Espace réservé du numéro de diapositive 3">
            <a:extLst>
              <a:ext uri="{FF2B5EF4-FFF2-40B4-BE49-F238E27FC236}">
                <a16:creationId xmlns:a16="http://schemas.microsoft.com/office/drawing/2014/main" id="{D54D4A97-A452-D1B2-F397-640AA542FB36}"/>
              </a:ext>
            </a:extLst>
          </p:cNvPr>
          <p:cNvSpPr>
            <a:spLocks noGrp="1"/>
          </p:cNvSpPr>
          <p:nvPr>
            <p:ph type="sldNum" sz="quarter" idx="12"/>
          </p:nvPr>
        </p:nvSpPr>
        <p:spPr/>
        <p:txBody>
          <a:bodyPr>
            <a:normAutofit fontScale="25000" lnSpcReduction="20000"/>
          </a:bodyPr>
          <a:lstStyle/>
          <a:p>
            <a:pPr>
              <a:spcAft>
                <a:spcPts val="600"/>
              </a:spcAft>
            </a:pPr>
            <a:fld id="{27C6CCC6-2BE5-4E42-96A4-D1E8E81A3D8E}" type="slidenum">
              <a:rPr lang="fr-FR"/>
              <a:pPr>
                <a:spcAft>
                  <a:spcPts val="600"/>
                </a:spcAft>
              </a:pPr>
              <a:t>26</a:t>
            </a:fld>
            <a:endParaRPr lang="fr-FR"/>
          </a:p>
        </p:txBody>
      </p:sp>
      <p:pic>
        <p:nvPicPr>
          <p:cNvPr id="6" name="Espace réservé du contenu 5" descr="Une image contenant texte, Visage humain, verres, personne&#10;&#10;Le contenu généré par l’IA peut être incorrect.">
            <a:extLst>
              <a:ext uri="{FF2B5EF4-FFF2-40B4-BE49-F238E27FC236}">
                <a16:creationId xmlns:a16="http://schemas.microsoft.com/office/drawing/2014/main" id="{BF093C5B-DC1F-1495-B4F6-55840F0A719C}"/>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Tree>
    <p:extLst>
      <p:ext uri="{BB962C8B-B14F-4D97-AF65-F5344CB8AC3E}">
        <p14:creationId xmlns:p14="http://schemas.microsoft.com/office/powerpoint/2010/main" val="1217960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FB3B73-715F-AD3A-7F96-C53B980D3B63}"/>
              </a:ext>
            </a:extLst>
          </p:cNvPr>
          <p:cNvSpPr>
            <a:spLocks noGrp="1"/>
          </p:cNvSpPr>
          <p:nvPr>
            <p:ph type="title"/>
          </p:nvPr>
        </p:nvSpPr>
        <p:spPr>
          <a:xfrm>
            <a:off x="179832" y="78745"/>
            <a:ext cx="7007352" cy="876720"/>
          </a:xfrm>
        </p:spPr>
        <p:txBody>
          <a:bodyPr>
            <a:normAutofit/>
          </a:bodyPr>
          <a:lstStyle/>
          <a:p>
            <a:r>
              <a:rPr lang="fr-FR" sz="4000">
                <a:latin typeface="Helvetica 75 Bold" panose="02000803050000020004" pitchFamily="2" charset="0"/>
              </a:rPr>
              <a:t>Inégalité de Heisenberg</a:t>
            </a:r>
          </a:p>
        </p:txBody>
      </p:sp>
      <p:sp>
        <p:nvSpPr>
          <p:cNvPr id="3" name="Espace réservé du contenu 2">
            <a:extLst>
              <a:ext uri="{FF2B5EF4-FFF2-40B4-BE49-F238E27FC236}">
                <a16:creationId xmlns:a16="http://schemas.microsoft.com/office/drawing/2014/main" id="{E8EC39AA-3E21-1486-1E72-7A465A2295D6}"/>
              </a:ext>
            </a:extLst>
          </p:cNvPr>
          <p:cNvSpPr>
            <a:spLocks noGrp="1"/>
          </p:cNvSpPr>
          <p:nvPr>
            <p:ph idx="1"/>
          </p:nvPr>
        </p:nvSpPr>
        <p:spPr>
          <a:xfrm>
            <a:off x="109493" y="768751"/>
            <a:ext cx="10515600" cy="5400884"/>
          </a:xfrm>
        </p:spPr>
        <p:txBody>
          <a:bodyPr vert="horz" lIns="91440" tIns="45720" rIns="91440" bIns="45720" rtlCol="0" anchor="t">
            <a:normAutofit/>
          </a:bodyPr>
          <a:lstStyle/>
          <a:p>
            <a:pPr marL="0" indent="0">
              <a:buNone/>
            </a:pPr>
            <a:r>
              <a:rPr lang="fr-FR" dirty="0">
                <a:solidFill>
                  <a:schemeClr val="tx1"/>
                </a:solidFill>
              </a:rPr>
              <a:t>Principe d'incertitude : Delta X * Delta P &gt; h/(4* Pi)</a:t>
            </a:r>
          </a:p>
          <a:p>
            <a:pPr marL="0" indent="0">
              <a:buNone/>
            </a:pPr>
            <a:r>
              <a:rPr lang="fr-FR" dirty="0">
                <a:solidFill>
                  <a:schemeClr val="tx1"/>
                </a:solidFill>
              </a:rPr>
              <a:t>Limites fondamentales sur la mesure simultanée.</a:t>
            </a:r>
          </a:p>
        </p:txBody>
      </p:sp>
      <p:sp>
        <p:nvSpPr>
          <p:cNvPr id="4" name="Espace réservé du numéro de diapositive 3">
            <a:extLst>
              <a:ext uri="{FF2B5EF4-FFF2-40B4-BE49-F238E27FC236}">
                <a16:creationId xmlns:a16="http://schemas.microsoft.com/office/drawing/2014/main" id="{FA8D4E3A-9E41-1F46-7304-F49A66B56193}"/>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27</a:t>
            </a:fld>
            <a:endParaRPr lang="fr-FR"/>
          </a:p>
        </p:txBody>
      </p:sp>
      <p:pic>
        <p:nvPicPr>
          <p:cNvPr id="9" name="Image 8" descr="Une image contenant dessin, diagramme, croquis, illustration&#10;&#10;Le contenu généré par l’IA peut être incorrect.">
            <a:extLst>
              <a:ext uri="{FF2B5EF4-FFF2-40B4-BE49-F238E27FC236}">
                <a16:creationId xmlns:a16="http://schemas.microsoft.com/office/drawing/2014/main" id="{F2A31E78-B6A7-CB94-B1A5-57B6CEFAA35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41368" y="1858357"/>
            <a:ext cx="3855720" cy="3294888"/>
          </a:xfrm>
          <a:prstGeom prst="rect">
            <a:avLst/>
          </a:prstGeom>
        </p:spPr>
      </p:pic>
      <p:sp>
        <p:nvSpPr>
          <p:cNvPr id="6" name="ZoneTexte 5">
            <a:extLst>
              <a:ext uri="{FF2B5EF4-FFF2-40B4-BE49-F238E27FC236}">
                <a16:creationId xmlns:a16="http://schemas.microsoft.com/office/drawing/2014/main" id="{0EC3FEDB-CEB0-2DAB-9908-F52191B76082}"/>
              </a:ext>
            </a:extLst>
          </p:cNvPr>
          <p:cNvSpPr txBox="1"/>
          <p:nvPr/>
        </p:nvSpPr>
        <p:spPr>
          <a:xfrm>
            <a:off x="8058006" y="3572904"/>
            <a:ext cx="2340864" cy="646331"/>
          </a:xfrm>
          <a:prstGeom prst="rect">
            <a:avLst/>
          </a:prstGeom>
          <a:noFill/>
        </p:spPr>
        <p:txBody>
          <a:bodyPr wrap="square" rtlCol="0">
            <a:spAutoFit/>
          </a:bodyPr>
          <a:lstStyle/>
          <a:p>
            <a:r>
              <a:rPr lang="fr-FR" dirty="0"/>
              <a:t>X = position</a:t>
            </a:r>
          </a:p>
          <a:p>
            <a:r>
              <a:rPr lang="fr-FR" dirty="0"/>
              <a:t>K = nb ondes</a:t>
            </a:r>
          </a:p>
        </p:txBody>
      </p:sp>
      <p:grpSp>
        <p:nvGrpSpPr>
          <p:cNvPr id="5" name="Groupe 4">
            <a:extLst>
              <a:ext uri="{FF2B5EF4-FFF2-40B4-BE49-F238E27FC236}">
                <a16:creationId xmlns:a16="http://schemas.microsoft.com/office/drawing/2014/main" id="{0EB9F2B1-4A42-2893-7BC1-65F19F89D8E6}"/>
              </a:ext>
            </a:extLst>
          </p:cNvPr>
          <p:cNvGrpSpPr/>
          <p:nvPr/>
        </p:nvGrpSpPr>
        <p:grpSpPr>
          <a:xfrm>
            <a:off x="0" y="6169848"/>
            <a:ext cx="12192000" cy="688152"/>
            <a:chOff x="0" y="6163498"/>
            <a:chExt cx="12192000" cy="688152"/>
          </a:xfrm>
        </p:grpSpPr>
        <p:sp>
          <p:nvSpPr>
            <p:cNvPr id="7" name="Freeform 2">
              <a:extLst>
                <a:ext uri="{FF2B5EF4-FFF2-40B4-BE49-F238E27FC236}">
                  <a16:creationId xmlns:a16="http://schemas.microsoft.com/office/drawing/2014/main" id="{053FB8FE-94D0-9A2D-2AD1-A8DD7A6051E6}"/>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8" name="TextBox 3">
              <a:extLst>
                <a:ext uri="{FF2B5EF4-FFF2-40B4-BE49-F238E27FC236}">
                  <a16:creationId xmlns:a16="http://schemas.microsoft.com/office/drawing/2014/main" id="{2230182D-E475-7E66-EB0D-8D38939EE04C}"/>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10" name="TextBox 4">
              <a:extLst>
                <a:ext uri="{FF2B5EF4-FFF2-40B4-BE49-F238E27FC236}">
                  <a16:creationId xmlns:a16="http://schemas.microsoft.com/office/drawing/2014/main" id="{1FD58ECB-3C8E-6ECB-5080-801322825593}"/>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Tree>
    <p:extLst>
      <p:ext uri="{BB962C8B-B14F-4D97-AF65-F5344CB8AC3E}">
        <p14:creationId xmlns:p14="http://schemas.microsoft.com/office/powerpoint/2010/main" val="4151219802"/>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CB6C0-BA29-73C2-7954-F06C02DCCA9D}"/>
            </a:ext>
          </a:extLst>
        </p:cNvPr>
        <p:cNvGrpSpPr/>
        <p:nvPr/>
      </p:nvGrpSpPr>
      <p:grpSpPr>
        <a:xfrm>
          <a:off x="0" y="0"/>
          <a:ext cx="0" cy="0"/>
          <a:chOff x="0" y="0"/>
          <a:chExt cx="0" cy="0"/>
        </a:xfrm>
      </p:grpSpPr>
      <p:pic>
        <p:nvPicPr>
          <p:cNvPr id="5" name="Image 4">
            <a:extLst>
              <a:ext uri="{FF2B5EF4-FFF2-40B4-BE49-F238E27FC236}">
                <a16:creationId xmlns:a16="http://schemas.microsoft.com/office/drawing/2014/main" id="{E2BBA87B-1DE1-C7AB-D47D-1DDCDCBBB5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84032" y="0"/>
            <a:ext cx="5807968" cy="6858000"/>
          </a:xfrm>
          <a:prstGeom prst="rect">
            <a:avLst/>
          </a:prstGeom>
        </p:spPr>
      </p:pic>
      <p:sp>
        <p:nvSpPr>
          <p:cNvPr id="2" name="Espace réservé du contenu 1">
            <a:extLst>
              <a:ext uri="{FF2B5EF4-FFF2-40B4-BE49-F238E27FC236}">
                <a16:creationId xmlns:a16="http://schemas.microsoft.com/office/drawing/2014/main" id="{C528FBF4-A2C5-94CB-ED81-13C09A737743}"/>
              </a:ext>
            </a:extLst>
          </p:cNvPr>
          <p:cNvSpPr>
            <a:spLocks noGrp="1"/>
          </p:cNvSpPr>
          <p:nvPr>
            <p:ph idx="1"/>
          </p:nvPr>
        </p:nvSpPr>
        <p:spPr>
          <a:xfrm>
            <a:off x="161925" y="714376"/>
            <a:ext cx="5876925" cy="5210174"/>
          </a:xfrm>
          <a:noFill/>
        </p:spPr>
        <p:txBody>
          <a:bodyPr anchor="ctr"/>
          <a:lstStyle/>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Qu’est ce que le Quantique ?</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intrication Quantique : Alice &amp; Bob</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a ruée vers l’or &amp; l’informatique quantique</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e Quantique une nouvelle promesse ?</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Jalons clés de la théorie atomique</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Saynète Einstein</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es Quanta </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interprétation de Copenhague</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Controverse Bohr / Einstein</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Paradoxe EPR</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Intrication révélée </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Controverses</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Conclusion – Sphère de Bloch</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Un pari sur le futur ?</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es Applications</a:t>
            </a:r>
          </a:p>
          <a:p>
            <a:pPr marL="360000" indent="-761981">
              <a:lnSpc>
                <a:spcPct val="100000"/>
              </a:lnSpc>
              <a:spcBef>
                <a:spcPts val="0"/>
              </a:spcBef>
              <a:spcAft>
                <a:spcPts val="0"/>
              </a:spcAft>
              <a:buClr>
                <a:schemeClr val="bg2"/>
              </a:buClr>
              <a:buSzPct val="100000"/>
              <a:buFont typeface="+mj-lt"/>
              <a:buAutoNum type="arabicPeriod"/>
            </a:pPr>
            <a:r>
              <a:rPr lang="fr-FR" sz="1800" dirty="0">
                <a:solidFill>
                  <a:schemeClr val="tx1"/>
                </a:solidFill>
                <a:latin typeface="Helvetica 75" panose="020B0804020202020204"/>
              </a:rPr>
              <a:t>Les investissements</a:t>
            </a:r>
            <a:br>
              <a:rPr lang="fr-FR" sz="1800" dirty="0">
                <a:solidFill>
                  <a:schemeClr val="tx1"/>
                </a:solidFill>
                <a:latin typeface="Helvetica 75" panose="020B0804020202020204"/>
              </a:rPr>
            </a:br>
            <a:endParaRPr lang="fr-FR" sz="1800" dirty="0">
              <a:solidFill>
                <a:schemeClr val="tx1"/>
              </a:solidFill>
              <a:latin typeface="Helvetica 75" panose="020B0804020202020204"/>
            </a:endParaRPr>
          </a:p>
          <a:p>
            <a:pPr>
              <a:lnSpc>
                <a:spcPct val="100000"/>
              </a:lnSpc>
              <a:spcBef>
                <a:spcPts val="0"/>
              </a:spcBef>
              <a:spcAft>
                <a:spcPts val="0"/>
              </a:spcAft>
              <a:buClr>
                <a:schemeClr val="bg2"/>
              </a:buClr>
              <a:buSzPct val="100000"/>
            </a:pPr>
            <a:r>
              <a:rPr lang="fr-FR" sz="1800" dirty="0">
                <a:solidFill>
                  <a:schemeClr val="tx1"/>
                </a:solidFill>
                <a:latin typeface="Helvetica 75" panose="020B0804020202020204"/>
              </a:rPr>
              <a:t>           Q&amp;R</a:t>
            </a:r>
          </a:p>
          <a:p>
            <a:pPr>
              <a:lnSpc>
                <a:spcPct val="100000"/>
              </a:lnSpc>
              <a:spcBef>
                <a:spcPts val="0"/>
              </a:spcBef>
              <a:spcAft>
                <a:spcPts val="0"/>
              </a:spcAft>
              <a:buClr>
                <a:schemeClr val="bg2"/>
              </a:buClr>
              <a:buSzPct val="100000"/>
            </a:pPr>
            <a:r>
              <a:rPr lang="fr-FR" sz="1800" dirty="0">
                <a:solidFill>
                  <a:schemeClr val="tx1"/>
                </a:solidFill>
                <a:latin typeface="Helvetica 75" panose="020B0804020202020204"/>
              </a:rPr>
              <a:t>           Références</a:t>
            </a:r>
            <a:endParaRPr lang="fr-FR" sz="2000" dirty="0">
              <a:solidFill>
                <a:schemeClr val="tx1"/>
              </a:solidFill>
              <a:latin typeface="Helvetica 75" panose="020B0804020202020204"/>
            </a:endParaRPr>
          </a:p>
        </p:txBody>
      </p:sp>
      <p:sp>
        <p:nvSpPr>
          <p:cNvPr id="3" name="Titre 2">
            <a:extLst>
              <a:ext uri="{FF2B5EF4-FFF2-40B4-BE49-F238E27FC236}">
                <a16:creationId xmlns:a16="http://schemas.microsoft.com/office/drawing/2014/main" id="{E24A7EDF-3E44-2A3B-EA3F-61CB377ECFE7}"/>
              </a:ext>
            </a:extLst>
          </p:cNvPr>
          <p:cNvSpPr>
            <a:spLocks noGrp="1"/>
          </p:cNvSpPr>
          <p:nvPr>
            <p:ph type="title"/>
          </p:nvPr>
        </p:nvSpPr>
        <p:spPr>
          <a:xfrm>
            <a:off x="462493" y="195793"/>
            <a:ext cx="5042957" cy="831851"/>
          </a:xfrm>
        </p:spPr>
        <p:txBody>
          <a:bodyPr/>
          <a:lstStyle/>
          <a:p>
            <a:r>
              <a:rPr lang="fr-FR" sz="3200" dirty="0"/>
              <a:t>Agenda</a:t>
            </a:r>
            <a:endParaRPr lang="fr-FR" sz="3200" dirty="0">
              <a:solidFill>
                <a:schemeClr val="bg1"/>
              </a:solidFill>
            </a:endParaRPr>
          </a:p>
        </p:txBody>
      </p:sp>
    </p:spTree>
    <p:extLst>
      <p:ext uri="{BB962C8B-B14F-4D97-AF65-F5344CB8AC3E}">
        <p14:creationId xmlns:p14="http://schemas.microsoft.com/office/powerpoint/2010/main" val="44227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C406F0-3188-A249-05D1-1060BDC05258}"/>
              </a:ext>
            </a:extLst>
          </p:cNvPr>
          <p:cNvSpPr>
            <a:spLocks noGrp="1"/>
          </p:cNvSpPr>
          <p:nvPr>
            <p:ph type="title"/>
          </p:nvPr>
        </p:nvSpPr>
        <p:spPr>
          <a:xfrm>
            <a:off x="417601" y="361658"/>
            <a:ext cx="11355300" cy="571065"/>
          </a:xfrm>
        </p:spPr>
        <p:txBody>
          <a:bodyPr anchor="t">
            <a:normAutofit/>
          </a:bodyPr>
          <a:lstStyle/>
          <a:p>
            <a:r>
              <a:rPr lang="fr-FR" dirty="0"/>
              <a:t>1. Qu’est ce que le Quantique ?</a:t>
            </a:r>
          </a:p>
        </p:txBody>
      </p:sp>
      <p:pic>
        <p:nvPicPr>
          <p:cNvPr id="5" name="Image 4" descr="Une image contenant léger, capture d’écran, cercle, art">
            <a:extLst>
              <a:ext uri="{FF2B5EF4-FFF2-40B4-BE49-F238E27FC236}">
                <a16:creationId xmlns:a16="http://schemas.microsoft.com/office/drawing/2014/main" id="{29260B02-C9E6-0229-FBF0-8B63E4DF7A07}"/>
              </a:ext>
            </a:extLst>
          </p:cNvPr>
          <p:cNvPicPr>
            <a:picLocks noChangeAspect="1"/>
          </p:cNvPicPr>
          <p:nvPr/>
        </p:nvPicPr>
        <p:blipFill>
          <a:blip r:embed="rId2" cstate="email">
            <a:extLst>
              <a:ext uri="{28A0092B-C50C-407E-A947-70E740481C1C}">
                <a14:useLocalDpi xmlns:a14="http://schemas.microsoft.com/office/drawing/2010/main"/>
              </a:ext>
            </a:extLst>
          </a:blip>
          <a:srcRect r="-2"/>
          <a:stretch>
            <a:fillRect/>
          </a:stretch>
        </p:blipFill>
        <p:spPr>
          <a:xfrm>
            <a:off x="419102" y="1220756"/>
            <a:ext cx="11353799" cy="4896544"/>
          </a:xfrm>
          <a:prstGeom prst="rect">
            <a:avLst/>
          </a:prstGeom>
          <a:noFill/>
        </p:spPr>
      </p:pic>
    </p:spTree>
    <p:extLst>
      <p:ext uri="{BB962C8B-B14F-4D97-AF65-F5344CB8AC3E}">
        <p14:creationId xmlns:p14="http://schemas.microsoft.com/office/powerpoint/2010/main" val="1491404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64AAE3BD-4E69-7F07-16B1-8822D4413448}"/>
              </a:ext>
            </a:extLst>
          </p:cNvPr>
          <p:cNvSpPr>
            <a:spLocks noGrp="1"/>
          </p:cNvSpPr>
          <p:nvPr>
            <p:ph idx="1"/>
          </p:nvPr>
        </p:nvSpPr>
        <p:spPr>
          <a:xfrm>
            <a:off x="-1" y="85725"/>
            <a:ext cx="6657975" cy="969991"/>
          </a:xfrm>
        </p:spPr>
        <p:txBody>
          <a:bodyPr vert="horz" lIns="91440" tIns="45720" rIns="91440" bIns="45720" rtlCol="0" anchor="t">
            <a:normAutofit/>
          </a:bodyPr>
          <a:lstStyle/>
          <a:p>
            <a:pPr marL="0" indent="0">
              <a:buNone/>
            </a:pPr>
            <a:r>
              <a:rPr lang="fr-FR" sz="2600" dirty="0">
                <a:latin typeface="Helvetica 75 Bold" panose="02000803050000020004" pitchFamily="2" charset="0"/>
              </a:rPr>
              <a:t>2. L’intrication Quantique pour tous : Alice &amp; Bob</a:t>
            </a:r>
            <a:endParaRPr lang="fr-FR" sz="1800" dirty="0">
              <a:solidFill>
                <a:schemeClr val="tx1"/>
              </a:solidFill>
              <a:latin typeface="Helvetica 75 Bold" panose="02000803050000020004" pitchFamily="2" charset="0"/>
            </a:endParaRPr>
          </a:p>
        </p:txBody>
      </p:sp>
      <p:sp>
        <p:nvSpPr>
          <p:cNvPr id="4" name="Espace réservé du numéro de diapositive 3">
            <a:extLst>
              <a:ext uri="{FF2B5EF4-FFF2-40B4-BE49-F238E27FC236}">
                <a16:creationId xmlns:a16="http://schemas.microsoft.com/office/drawing/2014/main" id="{B004ECC7-6AA8-014C-9F9C-6E14270423A1}"/>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5</a:t>
            </a:fld>
            <a:endParaRPr lang="fr-FR"/>
          </a:p>
        </p:txBody>
      </p:sp>
      <p:pic>
        <p:nvPicPr>
          <p:cNvPr id="10" name="Image 9" descr="Une image contenant texte, Appareils électroniques, câble, fils électriques&#10;&#10;Le contenu généré par l’IA peut être incorrect.">
            <a:extLst>
              <a:ext uri="{FF2B5EF4-FFF2-40B4-BE49-F238E27FC236}">
                <a16:creationId xmlns:a16="http://schemas.microsoft.com/office/drawing/2014/main" id="{A5764968-2A8D-1B38-A9DE-989F8F7399F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38937" y="130052"/>
            <a:ext cx="3914775" cy="5905500"/>
          </a:xfrm>
          <a:prstGeom prst="rect">
            <a:avLst/>
          </a:prstGeom>
        </p:spPr>
      </p:pic>
      <p:sp>
        <p:nvSpPr>
          <p:cNvPr id="11" name="ZoneTexte 10">
            <a:extLst>
              <a:ext uri="{FF2B5EF4-FFF2-40B4-BE49-F238E27FC236}">
                <a16:creationId xmlns:a16="http://schemas.microsoft.com/office/drawing/2014/main" id="{2304D2D0-FB03-B90E-0167-CAEF9CEBC6B3}"/>
              </a:ext>
            </a:extLst>
          </p:cNvPr>
          <p:cNvSpPr txBox="1"/>
          <p:nvPr/>
        </p:nvSpPr>
        <p:spPr>
          <a:xfrm>
            <a:off x="10696852" y="2295733"/>
            <a:ext cx="1495148" cy="2308324"/>
          </a:xfrm>
          <a:prstGeom prst="rect">
            <a:avLst/>
          </a:prstGeom>
          <a:noFill/>
        </p:spPr>
        <p:txBody>
          <a:bodyPr wrap="square" rtlCol="0">
            <a:spAutoFit/>
          </a:bodyPr>
          <a:lstStyle/>
          <a:p>
            <a:r>
              <a:rPr lang="fr-FR" sz="1200" b="1" dirty="0"/>
              <a:t>Expérimentation basée à Paris Saclay (source : Thomas Rivera, </a:t>
            </a:r>
            <a:r>
              <a:rPr lang="fr-FR" sz="1200" b="1" i="0" dirty="0">
                <a:solidFill>
                  <a:srgbClr val="000000"/>
                </a:solidFill>
                <a:effectLst/>
                <a:latin typeface="HelvNeueOrange"/>
              </a:rPr>
              <a:t>Responsable de projets Recherche spécialisé dans les communications quantiques chez Orange</a:t>
            </a:r>
            <a:endParaRPr lang="fr-FR" sz="1200" b="1" dirty="0"/>
          </a:p>
        </p:txBody>
      </p:sp>
      <p:grpSp>
        <p:nvGrpSpPr>
          <p:cNvPr id="7" name="Groupe 6">
            <a:extLst>
              <a:ext uri="{FF2B5EF4-FFF2-40B4-BE49-F238E27FC236}">
                <a16:creationId xmlns:a16="http://schemas.microsoft.com/office/drawing/2014/main" id="{4312D3C9-C2D6-7035-ABBB-448EE38C2B56}"/>
              </a:ext>
            </a:extLst>
          </p:cNvPr>
          <p:cNvGrpSpPr/>
          <p:nvPr/>
        </p:nvGrpSpPr>
        <p:grpSpPr>
          <a:xfrm>
            <a:off x="0" y="6169848"/>
            <a:ext cx="12192000" cy="688152"/>
            <a:chOff x="0" y="6163498"/>
            <a:chExt cx="12192000" cy="688152"/>
          </a:xfrm>
        </p:grpSpPr>
        <p:sp>
          <p:nvSpPr>
            <p:cNvPr id="8" name="Freeform 2">
              <a:extLst>
                <a:ext uri="{FF2B5EF4-FFF2-40B4-BE49-F238E27FC236}">
                  <a16:creationId xmlns:a16="http://schemas.microsoft.com/office/drawing/2014/main" id="{E90A12D2-CEEB-A50F-95E9-AEE3915A05C0}"/>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9" name="TextBox 3">
              <a:extLst>
                <a:ext uri="{FF2B5EF4-FFF2-40B4-BE49-F238E27FC236}">
                  <a16:creationId xmlns:a16="http://schemas.microsoft.com/office/drawing/2014/main" id="{B55C96A4-0106-AC67-CC04-6D71B2E76A96}"/>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12" name="TextBox 4">
              <a:extLst>
                <a:ext uri="{FF2B5EF4-FFF2-40B4-BE49-F238E27FC236}">
                  <a16:creationId xmlns:a16="http://schemas.microsoft.com/office/drawing/2014/main" id="{442A3D2F-E0D3-26B2-B76D-9930A560E147}"/>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pic>
        <p:nvPicPr>
          <p:cNvPr id="19" name="Image 18" descr="Une image contenant capture d’écran, invertébré, espace, Univers&#10;&#10;Le contenu généré par l’IA peut être incorrect.">
            <a:extLst>
              <a:ext uri="{FF2B5EF4-FFF2-40B4-BE49-F238E27FC236}">
                <a16:creationId xmlns:a16="http://schemas.microsoft.com/office/drawing/2014/main" id="{7DBBBA2B-5E02-8757-B43F-C9850D0B380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581025" y="1558935"/>
            <a:ext cx="4702664" cy="4479915"/>
          </a:xfrm>
          <a:prstGeom prst="rect">
            <a:avLst/>
          </a:prstGeom>
        </p:spPr>
      </p:pic>
      <p:sp>
        <p:nvSpPr>
          <p:cNvPr id="2" name="ZoneTexte 1">
            <a:extLst>
              <a:ext uri="{FF2B5EF4-FFF2-40B4-BE49-F238E27FC236}">
                <a16:creationId xmlns:a16="http://schemas.microsoft.com/office/drawing/2014/main" id="{61822879-34AC-9EAE-D56E-DB5B72DB498F}"/>
              </a:ext>
            </a:extLst>
          </p:cNvPr>
          <p:cNvSpPr txBox="1"/>
          <p:nvPr/>
        </p:nvSpPr>
        <p:spPr>
          <a:xfrm>
            <a:off x="11064241" y="465513"/>
            <a:ext cx="665018" cy="276999"/>
          </a:xfrm>
          <a:prstGeom prst="rect">
            <a:avLst/>
          </a:prstGeom>
        </p:spPr>
        <p:txBody>
          <a:bodyPr wrap="square" lIns="0" tIns="0" rIns="0" bIns="0" rtlCol="0">
            <a:spAutoFit/>
          </a:bodyPr>
          <a:lstStyle/>
          <a:p>
            <a:r>
              <a:rPr lang="fr-FR" dirty="0">
                <a:solidFill>
                  <a:srgbClr val="FF0000"/>
                </a:solidFill>
              </a:rPr>
              <a:t>10mn</a:t>
            </a:r>
          </a:p>
        </p:txBody>
      </p:sp>
    </p:spTree>
    <p:extLst>
      <p:ext uri="{BB962C8B-B14F-4D97-AF65-F5344CB8AC3E}">
        <p14:creationId xmlns:p14="http://schemas.microsoft.com/office/powerpoint/2010/main" val="2012055305"/>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295272-A082-8E08-EC22-A1ABB7E792C5}"/>
              </a:ext>
            </a:extLst>
          </p:cNvPr>
          <p:cNvSpPr>
            <a:spLocks noGrp="1"/>
          </p:cNvSpPr>
          <p:nvPr>
            <p:ph type="title"/>
          </p:nvPr>
        </p:nvSpPr>
        <p:spPr>
          <a:xfrm>
            <a:off x="117231" y="66186"/>
            <a:ext cx="11817594" cy="839421"/>
          </a:xfrm>
        </p:spPr>
        <p:txBody>
          <a:bodyPr>
            <a:normAutofit fontScale="90000"/>
          </a:bodyPr>
          <a:lstStyle/>
          <a:p>
            <a:r>
              <a:rPr lang="fr-FR" sz="3600" dirty="0">
                <a:latin typeface="Helvetica 75 Bold" panose="02000803050000020004" pitchFamily="2" charset="0"/>
              </a:rPr>
              <a:t>3. Parallèle entre la ruée vers </a:t>
            </a:r>
            <a:r>
              <a:rPr lang="fr-FR" sz="3600" dirty="0">
                <a:solidFill>
                  <a:schemeClr val="bg2"/>
                </a:solidFill>
                <a:latin typeface="Helvetica 75 Bold" panose="02000803050000020004" pitchFamily="2" charset="0"/>
              </a:rPr>
              <a:t>l’or &amp; l’informatique </a:t>
            </a:r>
            <a:r>
              <a:rPr lang="fr-FR" sz="3600" dirty="0">
                <a:latin typeface="Helvetica 75 Bold" panose="02000803050000020004" pitchFamily="2" charset="0"/>
              </a:rPr>
              <a:t>quantique</a:t>
            </a:r>
          </a:p>
        </p:txBody>
      </p:sp>
      <p:graphicFrame>
        <p:nvGraphicFramePr>
          <p:cNvPr id="5" name="Espace réservé du contenu 4">
            <a:extLst>
              <a:ext uri="{FF2B5EF4-FFF2-40B4-BE49-F238E27FC236}">
                <a16:creationId xmlns:a16="http://schemas.microsoft.com/office/drawing/2014/main" id="{010DC495-488C-D52F-59F5-81772300E234}"/>
              </a:ext>
            </a:extLst>
          </p:cNvPr>
          <p:cNvGraphicFramePr>
            <a:graphicFrameLocks noGrp="1"/>
          </p:cNvGraphicFramePr>
          <p:nvPr>
            <p:ph idx="1"/>
            <p:extLst>
              <p:ext uri="{D42A27DB-BD31-4B8C-83A1-F6EECF244321}">
                <p14:modId xmlns:p14="http://schemas.microsoft.com/office/powerpoint/2010/main" val="1598059434"/>
              </p:ext>
            </p:extLst>
          </p:nvPr>
        </p:nvGraphicFramePr>
        <p:xfrm>
          <a:off x="148736" y="3532065"/>
          <a:ext cx="11825654" cy="2534349"/>
        </p:xfrm>
        <a:graphic>
          <a:graphicData uri="http://schemas.openxmlformats.org/drawingml/2006/table">
            <a:tbl>
              <a:tblPr/>
              <a:tblGrid>
                <a:gridCol w="1406993">
                  <a:extLst>
                    <a:ext uri="{9D8B030D-6E8A-4147-A177-3AD203B41FA5}">
                      <a16:colId xmlns:a16="http://schemas.microsoft.com/office/drawing/2014/main" val="369737243"/>
                    </a:ext>
                  </a:extLst>
                </a:gridCol>
                <a:gridCol w="4678875">
                  <a:extLst>
                    <a:ext uri="{9D8B030D-6E8A-4147-A177-3AD203B41FA5}">
                      <a16:colId xmlns:a16="http://schemas.microsoft.com/office/drawing/2014/main" val="1947194031"/>
                    </a:ext>
                  </a:extLst>
                </a:gridCol>
                <a:gridCol w="5739786">
                  <a:extLst>
                    <a:ext uri="{9D8B030D-6E8A-4147-A177-3AD203B41FA5}">
                      <a16:colId xmlns:a16="http://schemas.microsoft.com/office/drawing/2014/main" val="1627413592"/>
                    </a:ext>
                  </a:extLst>
                </a:gridCol>
              </a:tblGrid>
              <a:tr h="221104">
                <a:tc>
                  <a:txBody>
                    <a:bodyPr/>
                    <a:lstStyle/>
                    <a:p>
                      <a:endParaRPr lang="fr-FR" sz="1200" b="1" dirty="0"/>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b="1" dirty="0">
                          <a:latin typeface="Helvetica 75 "/>
                        </a:rPr>
                        <a:t>La Ruée vers l'Or (1848-1855)</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b="1" dirty="0">
                          <a:latin typeface="Helvetica 75 "/>
                        </a:rPr>
                        <a:t>L'Informatique Quantique (2020s)</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3665815"/>
                  </a:ext>
                </a:extLst>
              </a:tr>
              <a:tr h="363206">
                <a:tc>
                  <a:txBody>
                    <a:bodyPr/>
                    <a:lstStyle/>
                    <a:p>
                      <a:r>
                        <a:rPr lang="fr-FR" sz="1200" b="1" dirty="0">
                          <a:latin typeface="Helvetica 75 "/>
                        </a:rPr>
                        <a:t>Contexte</a:t>
                      </a:r>
                      <a:endParaRPr lang="fr-FR" sz="1200" dirty="0">
                        <a:latin typeface="Helvetica 75 "/>
                      </a:endParaRP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Recherche de richesse et d'opportunités économiques en Californie</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Recherche de percées technologiques et de nouvelles capacités de calcul</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6243242"/>
                  </a:ext>
                </a:extLst>
              </a:tr>
              <a:tr h="342977">
                <a:tc>
                  <a:txBody>
                    <a:bodyPr/>
                    <a:lstStyle/>
                    <a:p>
                      <a:r>
                        <a:rPr lang="fr-FR" sz="1200" b="1">
                          <a:latin typeface="Helvetica 75 "/>
                        </a:rPr>
                        <a:t>Découverte clé</a:t>
                      </a:r>
                      <a:endParaRPr lang="fr-FR" sz="1200">
                        <a:latin typeface="Helvetica 75 "/>
                      </a:endParaRP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Découverte d'or à Sutter's Mill en 1848</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Développement des premiers qubits et algorithmes quantiques</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374415"/>
                  </a:ext>
                </a:extLst>
              </a:tr>
              <a:tr h="380165">
                <a:tc>
                  <a:txBody>
                    <a:bodyPr/>
                    <a:lstStyle/>
                    <a:p>
                      <a:r>
                        <a:rPr lang="fr-FR" sz="1200" b="1">
                          <a:latin typeface="Helvetica 75 "/>
                        </a:rPr>
                        <a:t>Migrations / Investissements</a:t>
                      </a:r>
                      <a:endParaRPr lang="fr-FR" sz="1200">
                        <a:latin typeface="Helvetica 75 "/>
                      </a:endParaRP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Afflux massif de prospecteurs et d'investisseurs</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Investissements massifs de gouvernements, entreprises et chercheurs</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1110027"/>
                  </a:ext>
                </a:extLst>
              </a:tr>
              <a:tr h="380165">
                <a:tc>
                  <a:txBody>
                    <a:bodyPr/>
                    <a:lstStyle/>
                    <a:p>
                      <a:r>
                        <a:rPr lang="fr-FR" sz="1200" b="1">
                          <a:latin typeface="Helvetica 75 "/>
                        </a:rPr>
                        <a:t>Impact économique</a:t>
                      </a:r>
                      <a:endParaRPr lang="fr-FR" sz="1200">
                        <a:latin typeface="Helvetica 75 "/>
                      </a:endParaRP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Croissance rapide de la Californie, développement urbain</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Potentiel de révolutionner la cryptographie, la recherche, la médecine</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6656216"/>
                  </a:ext>
                </a:extLst>
              </a:tr>
              <a:tr h="371662">
                <a:tc>
                  <a:txBody>
                    <a:bodyPr/>
                    <a:lstStyle/>
                    <a:p>
                      <a:r>
                        <a:rPr lang="fr-FR" sz="1200" b="1">
                          <a:latin typeface="Helvetica 75 "/>
                        </a:rPr>
                        <a:t>Risques et défis</a:t>
                      </a:r>
                      <a:endParaRPr lang="fr-FR" sz="1200">
                        <a:latin typeface="Helvetica 75 "/>
                      </a:endParaRP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Conflits, épuisement des ressources, bulles spéculatives</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Complexité technique, coûts élevés, défis de stabilité et de fiabilité</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1318347"/>
                  </a:ext>
                </a:extLst>
              </a:tr>
              <a:tr h="221104">
                <a:tc>
                  <a:txBody>
                    <a:bodyPr/>
                    <a:lstStyle/>
                    <a:p>
                      <a:r>
                        <a:rPr lang="fr-FR" sz="1200" b="1">
                          <a:latin typeface="Helvetica 75 "/>
                        </a:rPr>
                        <a:t>Héritage</a:t>
                      </a:r>
                      <a:endParaRPr lang="fr-FR" sz="1200">
                        <a:latin typeface="Helvetica 75 "/>
                      </a:endParaRP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Transformation de l'Ouest américain, état de la Californie</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latin typeface="Helvetica 75 "/>
                        </a:rPr>
                        <a:t>Transformation potentielle de la technologie et de l'industrie mondiale</a:t>
                      </a:r>
                    </a:p>
                  </a:txBody>
                  <a:tcPr marL="71333" marR="71333" marT="35667" marB="35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5213068"/>
                  </a:ext>
                </a:extLst>
              </a:tr>
            </a:tbl>
          </a:graphicData>
        </a:graphic>
      </p:graphicFrame>
      <p:sp>
        <p:nvSpPr>
          <p:cNvPr id="4" name="Espace réservé du numéro de diapositive 3">
            <a:extLst>
              <a:ext uri="{FF2B5EF4-FFF2-40B4-BE49-F238E27FC236}">
                <a16:creationId xmlns:a16="http://schemas.microsoft.com/office/drawing/2014/main" id="{96E961D8-9CF9-0DA5-35F6-302C4727DDFD}"/>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6</a:t>
            </a:fld>
            <a:endParaRPr lang="fr-FR"/>
          </a:p>
        </p:txBody>
      </p:sp>
      <p:pic>
        <p:nvPicPr>
          <p:cNvPr id="8" name="Image 7" descr="Une image contenant texte, fruit, affiche">
            <a:extLst>
              <a:ext uri="{FF2B5EF4-FFF2-40B4-BE49-F238E27FC236}">
                <a16:creationId xmlns:a16="http://schemas.microsoft.com/office/drawing/2014/main" id="{9017A9DA-3D3E-A527-224E-E6E6CDF3A1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59195" y="707782"/>
            <a:ext cx="3689837" cy="2613634"/>
          </a:xfrm>
          <a:prstGeom prst="rect">
            <a:avLst/>
          </a:prstGeom>
          <a:ln>
            <a:noFill/>
          </a:ln>
          <a:effectLst>
            <a:softEdge rad="112500"/>
          </a:effectLst>
        </p:spPr>
      </p:pic>
      <p:pic>
        <p:nvPicPr>
          <p:cNvPr id="10" name="Image 9" descr="Une image contenant texte, capture d’écran, Graphique, graphisme">
            <a:extLst>
              <a:ext uri="{FF2B5EF4-FFF2-40B4-BE49-F238E27FC236}">
                <a16:creationId xmlns:a16="http://schemas.microsoft.com/office/drawing/2014/main" id="{A6F96A11-04C3-9FF3-6FE0-9342F798ADD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11487" y="723168"/>
            <a:ext cx="3899389" cy="2599591"/>
          </a:xfrm>
          <a:prstGeom prst="rect">
            <a:avLst/>
          </a:prstGeom>
          <a:ln>
            <a:noFill/>
          </a:ln>
          <a:effectLst>
            <a:softEdge rad="112500"/>
          </a:effectLst>
        </p:spPr>
      </p:pic>
    </p:spTree>
    <p:extLst>
      <p:ext uri="{BB962C8B-B14F-4D97-AF65-F5344CB8AC3E}">
        <p14:creationId xmlns:p14="http://schemas.microsoft.com/office/powerpoint/2010/main" val="1490977316"/>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39A2C7-874B-0BA6-1CF4-3163B143D040}"/>
              </a:ext>
            </a:extLst>
          </p:cNvPr>
          <p:cNvSpPr>
            <a:spLocks noGrp="1"/>
          </p:cNvSpPr>
          <p:nvPr>
            <p:ph type="title"/>
          </p:nvPr>
        </p:nvSpPr>
        <p:spPr>
          <a:xfrm>
            <a:off x="417601" y="361658"/>
            <a:ext cx="11355300" cy="571065"/>
          </a:xfrm>
        </p:spPr>
        <p:txBody>
          <a:bodyPr anchor="t">
            <a:normAutofit/>
          </a:bodyPr>
          <a:lstStyle/>
          <a:p>
            <a:r>
              <a:rPr lang="fr-FR" dirty="0"/>
              <a:t>4. Le quantique une nouvelle promesse ?</a:t>
            </a:r>
          </a:p>
        </p:txBody>
      </p:sp>
      <p:pic>
        <p:nvPicPr>
          <p:cNvPr id="5" name="Espace réservé du contenu 4" descr="Une image contenant capture d’écran, boisson gazeuse, personne, Matière transparente">
            <a:extLst>
              <a:ext uri="{FF2B5EF4-FFF2-40B4-BE49-F238E27FC236}">
                <a16:creationId xmlns:a16="http://schemas.microsoft.com/office/drawing/2014/main" id="{A406A4CE-1BCB-3C8B-EDCF-562B9094E921}"/>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rcRect r="-2"/>
          <a:stretch>
            <a:fillRect/>
          </a:stretch>
        </p:blipFill>
        <p:spPr>
          <a:xfrm>
            <a:off x="419102" y="1220756"/>
            <a:ext cx="11353799" cy="4896544"/>
          </a:xfrm>
          <a:noFill/>
        </p:spPr>
      </p:pic>
    </p:spTree>
    <p:extLst>
      <p:ext uri="{BB962C8B-B14F-4D97-AF65-F5344CB8AC3E}">
        <p14:creationId xmlns:p14="http://schemas.microsoft.com/office/powerpoint/2010/main" val="348155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Espace réservé du contenu 9" descr="Une image contenant texte, capture d’écran, logiciel, Police&#10;&#10;Le contenu généré par l’IA peut être incorrect.">
            <a:extLst>
              <a:ext uri="{FF2B5EF4-FFF2-40B4-BE49-F238E27FC236}">
                <a16:creationId xmlns:a16="http://schemas.microsoft.com/office/drawing/2014/main" id="{D0F7A67C-2CAF-35F9-75C9-E621E1DDAAB2}"/>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153044" y="0"/>
            <a:ext cx="12248506" cy="5038725"/>
          </a:xfrm>
        </p:spPr>
      </p:pic>
      <p:sp>
        <p:nvSpPr>
          <p:cNvPr id="4" name="Espace réservé du numéro de diapositive 3">
            <a:extLst>
              <a:ext uri="{FF2B5EF4-FFF2-40B4-BE49-F238E27FC236}">
                <a16:creationId xmlns:a16="http://schemas.microsoft.com/office/drawing/2014/main" id="{7BDE8113-7043-5824-E5BE-5E53D78336D6}"/>
              </a:ext>
            </a:extLst>
          </p:cNvPr>
          <p:cNvSpPr>
            <a:spLocks noGrp="1"/>
          </p:cNvSpPr>
          <p:nvPr>
            <p:ph type="sldNum" sz="quarter" idx="4294967295"/>
          </p:nvPr>
        </p:nvSpPr>
        <p:spPr>
          <a:xfrm>
            <a:off x="9448800" y="6356350"/>
            <a:ext cx="2743200" cy="365125"/>
          </a:xfrm>
          <a:prstGeom prst="rect">
            <a:avLst/>
          </a:prstGeom>
        </p:spPr>
        <p:txBody>
          <a:bodyPr/>
          <a:lstStyle/>
          <a:p>
            <a:fld id="{27C6CCC6-2BE5-4E42-96A4-D1E8E81A3D8E}" type="slidenum">
              <a:rPr lang="fr-FR" smtClean="0"/>
              <a:t>8</a:t>
            </a:fld>
            <a:endParaRPr lang="fr-FR"/>
          </a:p>
        </p:txBody>
      </p:sp>
      <p:grpSp>
        <p:nvGrpSpPr>
          <p:cNvPr id="3" name="Groupe 2">
            <a:extLst>
              <a:ext uri="{FF2B5EF4-FFF2-40B4-BE49-F238E27FC236}">
                <a16:creationId xmlns:a16="http://schemas.microsoft.com/office/drawing/2014/main" id="{0233F162-6632-6D25-1D9A-44CC88CF4D85}"/>
              </a:ext>
            </a:extLst>
          </p:cNvPr>
          <p:cNvGrpSpPr/>
          <p:nvPr/>
        </p:nvGrpSpPr>
        <p:grpSpPr>
          <a:xfrm>
            <a:off x="0" y="6169848"/>
            <a:ext cx="12192000" cy="688152"/>
            <a:chOff x="0" y="6163498"/>
            <a:chExt cx="12192000" cy="688152"/>
          </a:xfrm>
        </p:grpSpPr>
        <p:sp>
          <p:nvSpPr>
            <p:cNvPr id="6" name="Freeform 2">
              <a:extLst>
                <a:ext uri="{FF2B5EF4-FFF2-40B4-BE49-F238E27FC236}">
                  <a16:creationId xmlns:a16="http://schemas.microsoft.com/office/drawing/2014/main" id="{983DF347-4BA3-F418-20CE-B5B70D2C740D}"/>
                </a:ext>
              </a:extLst>
            </p:cNvPr>
            <p:cNvSpPr/>
            <p:nvPr/>
          </p:nvSpPr>
          <p:spPr>
            <a:xfrm flipV="1">
              <a:off x="0" y="6172200"/>
              <a:ext cx="12192000" cy="679450"/>
            </a:xfrm>
            <a:custGeom>
              <a:avLst/>
              <a:gdLst/>
              <a:ahLst/>
              <a:cxnLst/>
              <a:rect l="l" t="t" r="r" b="b"/>
              <a:pathLst>
                <a:path w="18288000" h="1019175">
                  <a:moveTo>
                    <a:pt x="0" y="1019175"/>
                  </a:moveTo>
                  <a:lnTo>
                    <a:pt x="18288000" y="1019175"/>
                  </a:lnTo>
                  <a:lnTo>
                    <a:pt x="18288000" y="0"/>
                  </a:lnTo>
                  <a:lnTo>
                    <a:pt x="0" y="0"/>
                  </a:lnTo>
                  <a:lnTo>
                    <a:pt x="0" y="1019175"/>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endParaRPr lang="fr-FR" sz="1200"/>
            </a:p>
          </p:txBody>
        </p:sp>
        <p:sp>
          <p:nvSpPr>
            <p:cNvPr id="7" name="TextBox 3">
              <a:extLst>
                <a:ext uri="{FF2B5EF4-FFF2-40B4-BE49-F238E27FC236}">
                  <a16:creationId xmlns:a16="http://schemas.microsoft.com/office/drawing/2014/main" id="{676674C8-00AB-8C79-CA31-0F3BE55FAF59}"/>
                </a:ext>
              </a:extLst>
            </p:cNvPr>
            <p:cNvSpPr txBox="1"/>
            <p:nvPr/>
          </p:nvSpPr>
          <p:spPr>
            <a:xfrm>
              <a:off x="7995787" y="6220014"/>
              <a:ext cx="2678684" cy="538289"/>
            </a:xfrm>
            <a:prstGeom prst="rect">
              <a:avLst/>
            </a:prstGeom>
          </p:spPr>
          <p:txBody>
            <a:bodyPr lIns="0" tIns="0" rIns="0" bIns="0" rtlCol="0" anchor="t">
              <a:spAutoFit/>
            </a:bodyPr>
            <a:lstStyle/>
            <a:p>
              <a:pPr>
                <a:lnSpc>
                  <a:spcPts val="4597"/>
                </a:lnSpc>
              </a:pPr>
              <a:r>
                <a:rPr lang="en-US" sz="3283" b="1" dirty="0">
                  <a:solidFill>
                    <a:srgbClr val="FFFFFF"/>
                  </a:solidFill>
                  <a:latin typeface="Montserrat Extra-Bold Bold"/>
                  <a:ea typeface="Montserrat Extra-Bold Bold"/>
                  <a:cs typeface="Montserrat Extra-Bold Bold"/>
                  <a:sym typeface="Montserrat Extra-Bold Bold"/>
                </a:rPr>
                <a:t>AZUR TECH</a:t>
              </a:r>
            </a:p>
          </p:txBody>
        </p:sp>
        <p:sp>
          <p:nvSpPr>
            <p:cNvPr id="8" name="TextBox 4">
              <a:extLst>
                <a:ext uri="{FF2B5EF4-FFF2-40B4-BE49-F238E27FC236}">
                  <a16:creationId xmlns:a16="http://schemas.microsoft.com/office/drawing/2014/main" id="{1B200F75-2AC5-46BF-E98D-641EAB41699F}"/>
                </a:ext>
              </a:extLst>
            </p:cNvPr>
            <p:cNvSpPr txBox="1"/>
            <p:nvPr/>
          </p:nvSpPr>
          <p:spPr>
            <a:xfrm rot="-329388">
              <a:off x="10456468" y="6163498"/>
              <a:ext cx="1587174" cy="621004"/>
            </a:xfrm>
            <a:prstGeom prst="rect">
              <a:avLst/>
            </a:prstGeom>
          </p:spPr>
          <p:txBody>
            <a:bodyPr lIns="0" tIns="0" rIns="0" bIns="0" rtlCol="0" anchor="t">
              <a:spAutoFit/>
            </a:bodyPr>
            <a:lstStyle/>
            <a:p>
              <a:pPr algn="ctr">
                <a:lnSpc>
                  <a:spcPts val="5332"/>
                </a:lnSpc>
                <a:spcBef>
                  <a:spcPts val="3999"/>
                </a:spcBef>
              </a:pPr>
              <a:r>
                <a:rPr lang="en-US" sz="3808" dirty="0">
                  <a:solidFill>
                    <a:srgbClr val="FFFFFF"/>
                  </a:solidFill>
                  <a:latin typeface="Playlist Script"/>
                  <a:ea typeface="Playlist Script"/>
                  <a:cs typeface="Playlist Script"/>
                  <a:sym typeface="Playlist Script"/>
                </a:rPr>
                <a:t>Winter</a:t>
              </a:r>
            </a:p>
          </p:txBody>
        </p:sp>
      </p:grpSp>
      <p:sp>
        <p:nvSpPr>
          <p:cNvPr id="12" name="Titre 1">
            <a:extLst>
              <a:ext uri="{FF2B5EF4-FFF2-40B4-BE49-F238E27FC236}">
                <a16:creationId xmlns:a16="http://schemas.microsoft.com/office/drawing/2014/main" id="{367FD548-09CE-0C26-DCE5-33419CC9F119}"/>
              </a:ext>
            </a:extLst>
          </p:cNvPr>
          <p:cNvSpPr>
            <a:spLocks noGrp="1"/>
          </p:cNvSpPr>
          <p:nvPr>
            <p:ph type="title"/>
          </p:nvPr>
        </p:nvSpPr>
        <p:spPr>
          <a:xfrm>
            <a:off x="474751" y="542633"/>
            <a:ext cx="11355300" cy="571065"/>
          </a:xfrm>
        </p:spPr>
        <p:txBody>
          <a:bodyPr anchor="t">
            <a:normAutofit/>
          </a:bodyPr>
          <a:lstStyle/>
          <a:p>
            <a:r>
              <a:rPr lang="fr-FR" dirty="0"/>
              <a:t>5.</a:t>
            </a:r>
          </a:p>
        </p:txBody>
      </p:sp>
    </p:spTree>
    <p:extLst>
      <p:ext uri="{BB962C8B-B14F-4D97-AF65-F5344CB8AC3E}">
        <p14:creationId xmlns:p14="http://schemas.microsoft.com/office/powerpoint/2010/main" val="8600656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C8B69C-9528-E958-72E1-A8927AFF9994}"/>
              </a:ext>
            </a:extLst>
          </p:cNvPr>
          <p:cNvSpPr>
            <a:spLocks noGrp="1"/>
          </p:cNvSpPr>
          <p:nvPr>
            <p:ph type="title"/>
          </p:nvPr>
        </p:nvSpPr>
        <p:spPr>
          <a:xfrm>
            <a:off x="3262843" y="2405593"/>
            <a:ext cx="5728757" cy="831851"/>
          </a:xfrm>
        </p:spPr>
        <p:txBody>
          <a:bodyPr/>
          <a:lstStyle/>
          <a:p>
            <a:r>
              <a:rPr lang="fr-FR" dirty="0"/>
              <a:t>6. Saynète Einstein Photoélectrique</a:t>
            </a:r>
          </a:p>
        </p:txBody>
      </p:sp>
      <p:sp>
        <p:nvSpPr>
          <p:cNvPr id="3" name="ZoneTexte 2">
            <a:extLst>
              <a:ext uri="{FF2B5EF4-FFF2-40B4-BE49-F238E27FC236}">
                <a16:creationId xmlns:a16="http://schemas.microsoft.com/office/drawing/2014/main" id="{3CC794AC-CCA4-9668-B5A4-9B37E58818BF}"/>
              </a:ext>
            </a:extLst>
          </p:cNvPr>
          <p:cNvSpPr txBox="1"/>
          <p:nvPr/>
        </p:nvSpPr>
        <p:spPr>
          <a:xfrm>
            <a:off x="11064241" y="465513"/>
            <a:ext cx="665018" cy="276999"/>
          </a:xfrm>
          <a:prstGeom prst="rect">
            <a:avLst/>
          </a:prstGeom>
        </p:spPr>
        <p:txBody>
          <a:bodyPr wrap="square" lIns="0" tIns="0" rIns="0" bIns="0" rtlCol="0">
            <a:spAutoFit/>
          </a:bodyPr>
          <a:lstStyle/>
          <a:p>
            <a:r>
              <a:rPr lang="fr-FR" dirty="0">
                <a:solidFill>
                  <a:srgbClr val="FF0000"/>
                </a:solidFill>
              </a:rPr>
              <a:t>10mn</a:t>
            </a:r>
          </a:p>
        </p:txBody>
      </p:sp>
    </p:spTree>
    <p:extLst>
      <p:ext uri="{BB962C8B-B14F-4D97-AF65-F5344CB8AC3E}">
        <p14:creationId xmlns:p14="http://schemas.microsoft.com/office/powerpoint/2010/main" val="425935097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Orange">
  <a:themeElements>
    <a:clrScheme name="Orange 2015 White BG">
      <a:dk1>
        <a:srgbClr val="FFFFFF"/>
      </a:dk1>
      <a:lt1>
        <a:srgbClr val="000000"/>
      </a:lt1>
      <a:dk2>
        <a:srgbClr val="595959"/>
      </a:dk2>
      <a:lt2>
        <a:srgbClr val="FF7900"/>
      </a:lt2>
      <a:accent1>
        <a:srgbClr val="4BB4E6"/>
      </a:accent1>
      <a:accent2>
        <a:srgbClr val="A885D8"/>
      </a:accent2>
      <a:accent3>
        <a:srgbClr val="50BE87"/>
      </a:accent3>
      <a:accent4>
        <a:srgbClr val="FFB4E6"/>
      </a:accent4>
      <a:accent5>
        <a:srgbClr val="FFD200"/>
      </a:accent5>
      <a:accent6>
        <a:srgbClr val="8F8F8F"/>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Orange" id="{9866EBB9-8A54-420E-A306-0D8A86F55BE3}" vid="{FA68FA5E-7DA7-4FF9-8243-CA7448D0F2F7}"/>
    </a:ext>
  </a:extLst>
</a:theme>
</file>

<file path=ppt/theme/theme2.xml><?xml version="1.0" encoding="utf-8"?>
<a:theme xmlns:a="http://schemas.openxmlformats.org/drawingml/2006/main" name="3_Orange Business Services 2015 - Black">
  <a:themeElements>
    <a:clrScheme name="Orange 2015 White BG">
      <a:dk1>
        <a:srgbClr val="FFFFFF"/>
      </a:dk1>
      <a:lt1>
        <a:srgbClr val="000000"/>
      </a:lt1>
      <a:dk2>
        <a:srgbClr val="595959"/>
      </a:dk2>
      <a:lt2>
        <a:srgbClr val="FF7900"/>
      </a:lt2>
      <a:accent1>
        <a:srgbClr val="4BB4E6"/>
      </a:accent1>
      <a:accent2>
        <a:srgbClr val="A885D8"/>
      </a:accent2>
      <a:accent3>
        <a:srgbClr val="50BE87"/>
      </a:accent3>
      <a:accent4>
        <a:srgbClr val="FFB4E6"/>
      </a:accent4>
      <a:accent5>
        <a:srgbClr val="FFD200"/>
      </a:accent5>
      <a:accent6>
        <a:srgbClr val="8F8F8F"/>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ange_PPTTemplate_v3.potx" id="{7EFB1CC4-B630-4DC5-B88F-B33ED10FA70B}" vid="{E661C32F-4836-4DD1-B604-E27281C607A6}"/>
    </a:ext>
  </a:extLst>
</a:theme>
</file>

<file path=ppt/theme/theme3.xml><?xml version="1.0" encoding="utf-8"?>
<a:theme xmlns:a="http://schemas.openxmlformats.org/drawingml/2006/main" name="2_Black Master 2023">
  <a:themeElements>
    <a:clrScheme name="Orange BLK Secondary">
      <a:dk1>
        <a:srgbClr val="FFFFFF"/>
      </a:dk1>
      <a:lt1>
        <a:srgbClr val="000000"/>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Presentation3" id="{22BB5982-6002-40D2-8F3F-3CDBE7F48A61}" vid="{97D4D3ED-50E4-4DC3-BD97-53A507457FDC}"/>
    </a:ext>
  </a:extLst>
</a:theme>
</file>

<file path=ppt/theme/theme4.xml><?xml version="1.0" encoding="utf-8"?>
<a:theme xmlns:a="http://schemas.openxmlformats.org/drawingml/2006/main" name="Black_Master_2023">
  <a:themeElements>
    <a:clrScheme name="Orange BLK Secondary">
      <a:dk1>
        <a:srgbClr val="FFFFFF"/>
      </a:dk1>
      <a:lt1>
        <a:srgbClr val="000000"/>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range_Business_PowerPoint_Template_2023_English_v1" id="{C2B275A9-95DF-4DA3-B84E-E36D62B106D1}" vid="{09B2FDC4-9AE7-45B4-872D-883DF97475BC}"/>
    </a:ext>
  </a:extLst>
</a:theme>
</file>

<file path=ppt/theme/theme5.xml><?xml version="1.0" encoding="utf-8"?>
<a:theme xmlns:a="http://schemas.openxmlformats.org/drawingml/2006/main" name="5_Orange Business Services 2015 - Black">
  <a:themeElements>
    <a:clrScheme name="Orange 2015 White BG">
      <a:dk1>
        <a:srgbClr val="FFFFFF"/>
      </a:dk1>
      <a:lt1>
        <a:srgbClr val="000000"/>
      </a:lt1>
      <a:dk2>
        <a:srgbClr val="595959"/>
      </a:dk2>
      <a:lt2>
        <a:srgbClr val="FF7900"/>
      </a:lt2>
      <a:accent1>
        <a:srgbClr val="4BB4E6"/>
      </a:accent1>
      <a:accent2>
        <a:srgbClr val="A885D8"/>
      </a:accent2>
      <a:accent3>
        <a:srgbClr val="50BE87"/>
      </a:accent3>
      <a:accent4>
        <a:srgbClr val="FFB4E6"/>
      </a:accent4>
      <a:accent5>
        <a:srgbClr val="FFD200"/>
      </a:accent5>
      <a:accent6>
        <a:srgbClr val="8F8F8F"/>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ange_PPTTemplate_v3.potx" id="{7EFB1CC4-B630-4DC5-B88F-B33ED10FA70B}" vid="{E661C32F-4836-4DD1-B604-E27281C607A6}"/>
    </a:ext>
  </a:extLst>
</a:theme>
</file>

<file path=ppt/theme/theme6.xml><?xml version="1.0" encoding="utf-8"?>
<a:theme xmlns:a="http://schemas.openxmlformats.org/drawingml/2006/main" name="theme orange blanc">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theme orange blanc" id="{4744192E-23F1-4AB4-8E9D-58C862D1D65B}" vid="{15483D54-1D49-4775-A361-E93452BFA79B}"/>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681240DA4E7B54D8D77209B358CFA91" ma:contentTypeVersion="13" ma:contentTypeDescription="Crée un document." ma:contentTypeScope="" ma:versionID="eb8416406e0391dcfccfac60e8da5674">
  <xsd:schema xmlns:xsd="http://www.w3.org/2001/XMLSchema" xmlns:xs="http://www.w3.org/2001/XMLSchema" xmlns:p="http://schemas.microsoft.com/office/2006/metadata/properties" xmlns:ns2="485dfaaf-37c7-4e39-8312-4770089393da" xmlns:ns3="5a3c848a-19d9-400d-8353-4b46a18841d1" targetNamespace="http://schemas.microsoft.com/office/2006/metadata/properties" ma:root="true" ma:fieldsID="d52c75ea7339b0f3480beba575911117" ns2:_="" ns3:_="">
    <xsd:import namespace="485dfaaf-37c7-4e39-8312-4770089393da"/>
    <xsd:import namespace="5a3c848a-19d9-400d-8353-4b46a18841d1"/>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5dfaaf-37c7-4e39-8312-4770089393da"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alises d’images" ma:readOnly="false" ma:fieldId="{5cf76f15-5ced-4ddc-b409-7134ff3c332f}" ma:taxonomyMulti="true" ma:sspId="aa8976df-9c6d-4c47-88b7-85635e50fb47"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3c848a-19d9-400d-8353-4b46a18841d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105114d-1a9a-4075-a026-8f5575108241}" ma:internalName="TaxCatchAll" ma:showField="CatchAllData" ma:web="5a3c848a-19d9-400d-8353-4b46a18841d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a3c848a-19d9-400d-8353-4b46a18841d1" xsi:nil="true"/>
    <lcf76f155ced4ddcb4097134ff3c332f xmlns="485dfaaf-37c7-4e39-8312-4770089393d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AEE3EB7-AACF-4C4C-9FAC-7DB9CCA449B8}">
  <ds:schemaRefs>
    <ds:schemaRef ds:uri="http://schemas.microsoft.com/sharepoint/v3/contenttype/forms"/>
  </ds:schemaRefs>
</ds:datastoreItem>
</file>

<file path=customXml/itemProps2.xml><?xml version="1.0" encoding="utf-8"?>
<ds:datastoreItem xmlns:ds="http://schemas.openxmlformats.org/officeDocument/2006/customXml" ds:itemID="{84B8DFB4-3BD1-4C49-A4CE-1D701C68B0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5dfaaf-37c7-4e39-8312-4770089393da"/>
    <ds:schemaRef ds:uri="5a3c848a-19d9-400d-8353-4b46a18841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D4F1F09-5DA5-4385-BBA0-9067F66AA538}">
  <ds:schemaRefs>
    <ds:schemaRef ds:uri="http://purl.org/dc/dcmitype/"/>
    <ds:schemaRef ds:uri="http://purl.org/dc/term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www.w3.org/XML/1998/namespace"/>
    <ds:schemaRef ds:uri="5a3c848a-19d9-400d-8353-4b46a18841d1"/>
    <ds:schemaRef ds:uri="485dfaaf-37c7-4e39-8312-4770089393da"/>
    <ds:schemaRef ds:uri="http://schemas.microsoft.com/office/2006/metadata/properties"/>
  </ds:schemaRefs>
</ds:datastoreItem>
</file>

<file path=docMetadata/LabelInfo.xml><?xml version="1.0" encoding="utf-8"?>
<clbl:labelList xmlns:clbl="http://schemas.microsoft.com/office/2020/mipLabelMetadata">
  <clbl:label id="{e6c818a6-e1a0-4a6e-a969-20d857c5dc62}" enabled="1" method="Standard" siteId="{90c7a20a-f34b-40bf-bc48-b9253b6f5d20}" removed="0"/>
</clbl:labelList>
</file>

<file path=docProps/app.xml><?xml version="1.0" encoding="utf-8"?>
<Properties xmlns="http://schemas.openxmlformats.org/officeDocument/2006/extended-properties" xmlns:vt="http://schemas.openxmlformats.org/officeDocument/2006/docPropsVTypes">
  <Template>ThèmeOrange</Template>
  <TotalTime>1482</TotalTime>
  <Words>1698</Words>
  <Application>Microsoft Office PowerPoint</Application>
  <PresentationFormat>Grand écran</PresentationFormat>
  <Paragraphs>187</Paragraphs>
  <Slides>27</Slides>
  <Notes>7</Notes>
  <HiddenSlides>0</HiddenSlides>
  <MMClips>0</MMClips>
  <ScaleCrop>false</ScaleCrop>
  <HeadingPairs>
    <vt:vector size="8" baseType="variant">
      <vt:variant>
        <vt:lpstr>Polices utilisées</vt:lpstr>
      </vt:variant>
      <vt:variant>
        <vt:i4>12</vt:i4>
      </vt:variant>
      <vt:variant>
        <vt:lpstr>Thème</vt:lpstr>
      </vt:variant>
      <vt:variant>
        <vt:i4>6</vt:i4>
      </vt:variant>
      <vt:variant>
        <vt:lpstr>Serveurs OLE incorporés</vt:lpstr>
      </vt:variant>
      <vt:variant>
        <vt:i4>1</vt:i4>
      </vt:variant>
      <vt:variant>
        <vt:lpstr>Titres des diapositives</vt:lpstr>
      </vt:variant>
      <vt:variant>
        <vt:i4>27</vt:i4>
      </vt:variant>
    </vt:vector>
  </HeadingPairs>
  <TitlesOfParts>
    <vt:vector size="46" baseType="lpstr">
      <vt:lpstr>ＭＳ Ｐゴシック</vt:lpstr>
      <vt:lpstr>Aptos</vt:lpstr>
      <vt:lpstr>Arial</vt:lpstr>
      <vt:lpstr>Calibri</vt:lpstr>
      <vt:lpstr>Helvetica 55 Roman</vt:lpstr>
      <vt:lpstr>Helvetica 75</vt:lpstr>
      <vt:lpstr>Helvetica 75 </vt:lpstr>
      <vt:lpstr>Helvetica 75 Bold</vt:lpstr>
      <vt:lpstr>HelvNeueOrange</vt:lpstr>
      <vt:lpstr>Montserrat Extra-Bold Bold</vt:lpstr>
      <vt:lpstr>Playlist Script</vt:lpstr>
      <vt:lpstr>Wingdings</vt:lpstr>
      <vt:lpstr>ThèmeOrange</vt:lpstr>
      <vt:lpstr>3_Orange Business Services 2015 - Black</vt:lpstr>
      <vt:lpstr>2_Black Master 2023</vt:lpstr>
      <vt:lpstr>Black_Master_2023</vt:lpstr>
      <vt:lpstr>5_Orange Business Services 2015 - Black</vt:lpstr>
      <vt:lpstr>theme orange blanc</vt:lpstr>
      <vt:lpstr>think-cell Slide</vt:lpstr>
      <vt:lpstr>Prélude à une société post quantique</vt:lpstr>
      <vt:lpstr>Hommage à Alain Aspect</vt:lpstr>
      <vt:lpstr>Agenda</vt:lpstr>
      <vt:lpstr>1. Qu’est ce que le Quantique ?</vt:lpstr>
      <vt:lpstr>Présentation PowerPoint</vt:lpstr>
      <vt:lpstr>3. Parallèle entre la ruée vers l’or &amp; l’informatique quantique</vt:lpstr>
      <vt:lpstr>4. Le quantique une nouvelle promesse ?</vt:lpstr>
      <vt:lpstr>5.</vt:lpstr>
      <vt:lpstr>6. Saynète Einstein Photoélectrique</vt:lpstr>
      <vt:lpstr>7. Les Quanta</vt:lpstr>
      <vt:lpstr>8. L'interprétation de Copenhague</vt:lpstr>
      <vt:lpstr>9. Controverse Bohr / Einstein</vt:lpstr>
      <vt:lpstr>10. Paradoxe EPR (Einstein, Podolsky et Rosen) </vt:lpstr>
      <vt:lpstr>11. L'intrication Quantique révélée !</vt:lpstr>
      <vt:lpstr>12. Controverse 1  Inégalité CHSH 1969 Expérience et thèse Alain Aspect 1981-1983  La somme des espérances (E, probabilité d'être dans un état)  doit être inférieure ou égale à 2, cela prouve qu’Einstein a raison. «Les particules peuvent se comporter de la même façon à une grande distance »  Postulat Einstein : ce n'est pas possible car ça dépasserait la vitesse de la lumière. On a du se tromper quelque part dans la théorie, il doit y avoir des variables cachées qu’on ne maitrise pas.  Bohr : la théorie de la mécanique quantique est juste, il n y a pas de variable cachée, on va le prouver.  John Bell : exhibe une expérience pour prouver que soit Einstein, soit Bohr a raison.  Approfondissement de cette expérience : Inégalité CHSH (Clauser, Horne, Shimony, Holt) mesure qui prouve que la théorie d’Einstein est fausse : non localité </vt:lpstr>
      <vt:lpstr>12. Controverse 2  Bohr, avec les particules intriquées le résultat la somme des espérances est de 2,42 - Einstein a tort, notion de localité, réalisme local.</vt:lpstr>
      <vt:lpstr>13. Conclusion  Alain Aspect  Il n’existe pas de variable cachée locale, les patchs d’Einstein sont contredits par la réalité.</vt:lpstr>
      <vt:lpstr>13. Sphère de Bloch : l'équivalent du cercle unité de la trigonométrie pour les Qubits</vt:lpstr>
      <vt:lpstr>14. Le "Pari sur le futur" des chercheurs d'or est-il le même ?  Avons-nous amorcé la révolution Quantique ? </vt:lpstr>
      <vt:lpstr>Présentation PowerPoint</vt:lpstr>
      <vt:lpstr>15. Les domaines applicatifs de l’intrication quantique</vt:lpstr>
      <vt:lpstr>Présentation PowerPoint</vt:lpstr>
      <vt:lpstr>16. Les investissements dans le Quantique</vt:lpstr>
      <vt:lpstr>Q&amp;R</vt:lpstr>
      <vt:lpstr>MERCI !</vt:lpstr>
      <vt:lpstr>Annexes</vt:lpstr>
      <vt:lpstr>Inégalité de Heisenber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QUERI Elsa OBS/FZ</dc:creator>
  <cp:lastModifiedBy>QUERI Elsa OBS/OBF</cp:lastModifiedBy>
  <cp:revision>7</cp:revision>
  <dcterms:created xsi:type="dcterms:W3CDTF">2025-07-06T12:09:01Z</dcterms:created>
  <dcterms:modified xsi:type="dcterms:W3CDTF">2025-11-28T14:4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hème Office:8</vt:lpwstr>
  </property>
  <property fmtid="{D5CDD505-2E9C-101B-9397-08002B2CF9AE}" pid="3" name="ClassificationContentMarkingFooterText">
    <vt:lpwstr>Orange Restricted</vt:lpwstr>
  </property>
  <property fmtid="{D5CDD505-2E9C-101B-9397-08002B2CF9AE}" pid="4" name="ContentTypeId">
    <vt:lpwstr>0x0101008681240DA4E7B54D8D77209B358CFA91</vt:lpwstr>
  </property>
  <property fmtid="{D5CDD505-2E9C-101B-9397-08002B2CF9AE}" pid="5" name="MediaServiceImageTags">
    <vt:lpwstr/>
  </property>
</Properties>
</file>